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6" r:id="rId2"/>
  </p:sldMasterIdLst>
  <p:notesMasterIdLst>
    <p:notesMasterId r:id="rId5"/>
  </p:notesMasterIdLst>
  <p:sldIdLst>
    <p:sldId id="359" r:id="rId3"/>
    <p:sldId id="492"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barasu Ramachandran" initials="AR" lastIdx="11" clrIdx="0">
    <p:extLst>
      <p:ext uri="{19B8F6BF-5375-455C-9EA6-DF929625EA0E}">
        <p15:presenceInfo xmlns:p15="http://schemas.microsoft.com/office/powerpoint/2012/main" userId="2f39c6ca7ce39ec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4CAE"/>
    <a:srgbClr val="E5E5E5"/>
    <a:srgbClr val="1957A3"/>
    <a:srgbClr val="F2F2F2"/>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7" autoAdjust="0"/>
    <p:restoredTop sz="94162" autoAdjust="0"/>
  </p:normalViewPr>
  <p:slideViewPr>
    <p:cSldViewPr snapToGrid="0" showGuides="1">
      <p:cViewPr varScale="1">
        <p:scale>
          <a:sx n="72" d="100"/>
          <a:sy n="72" d="100"/>
        </p:scale>
        <p:origin x="774" y="84"/>
      </p:cViewPr>
      <p:guideLst>
        <p:guide orient="horz" pos="2160"/>
        <p:guide pos="3840"/>
      </p:guideLst>
    </p:cSldViewPr>
  </p:slideViewPr>
  <p:notesTextViewPr>
    <p:cViewPr>
      <p:scale>
        <a:sx n="1" d="1"/>
        <a:sy n="1" d="1"/>
      </p:scale>
      <p:origin x="0" y="0"/>
    </p:cViewPr>
  </p:notesTextViewPr>
  <p:sorterViewPr>
    <p:cViewPr>
      <p:scale>
        <a:sx n="60" d="100"/>
        <a:sy n="60" d="100"/>
      </p:scale>
      <p:origin x="0" y="-268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3C7A92-E1C9-4B79-85AC-4D6DC9DECBC5}" type="datetimeFigureOut">
              <a:rPr lang="en-US" smtClean="0"/>
              <a:t>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FCDF90-CA59-4999-BA92-3F80B38037CC}" type="slidenum">
              <a:rPr lang="en-US" smtClean="0"/>
              <a:t>‹#›</a:t>
            </a:fld>
            <a:endParaRPr lang="en-US"/>
          </a:p>
        </p:txBody>
      </p:sp>
    </p:spTree>
    <p:extLst>
      <p:ext uri="{BB962C8B-B14F-4D97-AF65-F5344CB8AC3E}">
        <p14:creationId xmlns:p14="http://schemas.microsoft.com/office/powerpoint/2010/main" val="4175724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860425" y="1122363"/>
            <a:ext cx="5381625" cy="30273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71" name="Shape 171"/>
          <p:cNvSpPr txBox="1">
            <a:spLocks noGrp="1"/>
          </p:cNvSpPr>
          <p:nvPr>
            <p:ph type="body" idx="1"/>
          </p:nvPr>
        </p:nvSpPr>
        <p:spPr>
          <a:xfrm>
            <a:off x="710248" y="4318039"/>
            <a:ext cx="5681980" cy="3532942"/>
          </a:xfrm>
          <a:prstGeom prst="rect">
            <a:avLst/>
          </a:prstGeom>
          <a:noFill/>
          <a:ln>
            <a:noFill/>
          </a:ln>
        </p:spPr>
        <p:txBody>
          <a:bodyPr wrap="square" lIns="91425" tIns="45700" rIns="91425" bIns="45700" anchor="t" anchorCtr="0">
            <a:noAutofit/>
          </a:bodyPr>
          <a:lstStyle/>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leading global analytics and decision sciences provider, delivering solutions that help companies drive digital transformation and use data to gain a competitive advantage.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With analytics solutions that provide 360-degree view of the digital consumer, fuel machine learning capabilities and support artificial intelligence initiatives., LatentView enables leading global brands to predict new revenue streams, anticipate product trends and popularity, improve customer retention rates, optimize investment decisions and turn unstructured data into a valuable business asset.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LatentView is a trusted partner to enterprises worldwide, including more than two dozen Fortune 500 companies in the retail, CPG, financial, technology and healthcare sectors. LatentView has more than 550 employees in offices in Princeton, N.J., San Jose, Calif., London, Singapore and Chennai, India. </a:t>
            </a:r>
          </a:p>
          <a:p>
            <a:pPr marL="171450" marR="0" lvl="0"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wards and recognition:</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India Emerging 20 (IE20) Award (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rost &amp; Sullivan Analytics Company of the Year (2015 &amp; 2017)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Deloitte Fast50 (Eight consecutive years, 2009-2016) </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Advanced Consulting Partner to Amazon Web Services </a:t>
            </a:r>
          </a:p>
          <a:p>
            <a:pPr marL="628650" marR="0" lvl="1" indent="-171450" algn="l" rtl="0">
              <a:spcBef>
                <a:spcPts val="0"/>
              </a:spcBef>
              <a:buClr>
                <a:schemeClr val="dk1"/>
              </a:buClr>
              <a:buSzPct val="100000"/>
              <a:buFont typeface="Arial"/>
              <a:buChar char="•"/>
            </a:pPr>
            <a:r>
              <a:rPr lang="en-US" sz="1200" b="0" i="0" u="none" strike="noStrike" cap="none" dirty="0" err="1">
                <a:solidFill>
                  <a:schemeClr val="dk1"/>
                </a:solidFill>
                <a:latin typeface="Arial" panose="020B0604020202020204" pitchFamily="34" charset="0"/>
                <a:cs typeface="Arial" panose="020B0604020202020204" pitchFamily="34" charset="0"/>
                <a:sym typeface="Calibri"/>
              </a:rPr>
              <a:t>Micrsoft</a:t>
            </a:r>
            <a:r>
              <a:rPr lang="en-US" sz="1200" b="0" i="0" u="none" strike="noStrike" cap="none" dirty="0">
                <a:solidFill>
                  <a:schemeClr val="dk1"/>
                </a:solidFill>
                <a:latin typeface="Arial" panose="020B0604020202020204" pitchFamily="34" charset="0"/>
                <a:cs typeface="Arial" panose="020B0604020202020204" pitchFamily="34" charset="0"/>
                <a:sym typeface="Calibri"/>
              </a:rPr>
              <a:t> Gold Partner in advanced analytics</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Gartner Cool Vendor: Advanced Analytics Service Providers for Marketing</a:t>
            </a:r>
          </a:p>
          <a:p>
            <a:pPr marL="628650" marR="0" lvl="1" indent="-171450" algn="l" rtl="0">
              <a:spcBef>
                <a:spcPts val="0"/>
              </a:spcBef>
              <a:buClr>
                <a:schemeClr val="dk1"/>
              </a:buClr>
              <a:buSzPct val="100000"/>
              <a:buFont typeface="Arial"/>
              <a:buChar char="•"/>
            </a:pPr>
            <a:r>
              <a:rPr lang="en-US" sz="1200" b="0" i="0" u="none" strike="noStrike" cap="none" dirty="0">
                <a:solidFill>
                  <a:schemeClr val="dk1"/>
                </a:solidFill>
                <a:latin typeface="Arial" panose="020B0604020202020204" pitchFamily="34" charset="0"/>
                <a:cs typeface="Arial" panose="020B0604020202020204" pitchFamily="34" charset="0"/>
                <a:sym typeface="Calibri"/>
              </a:rPr>
              <a:t>Founder Venkat  Viswanathan inducted into the Forbes Customer Council</a:t>
            </a:r>
          </a:p>
          <a:p>
            <a:pPr marL="0" marR="0" lvl="0" indent="0" algn="l" rtl="0">
              <a:spcBef>
                <a:spcPts val="0"/>
              </a:spcBef>
              <a:buSzPct val="25000"/>
              <a:buNone/>
            </a:pPr>
            <a:endParaRPr sz="1200" b="0" i="0" u="none" strike="noStrike" cap="none" dirty="0">
              <a:solidFill>
                <a:schemeClr val="dk1"/>
              </a:solidFill>
              <a:latin typeface="Arial" panose="020B0604020202020204" pitchFamily="34" charset="0"/>
              <a:cs typeface="Arial" panose="020B0604020202020204" pitchFamily="34" charset="0"/>
              <a:sym typeface="Calibri"/>
            </a:endParaRPr>
          </a:p>
        </p:txBody>
      </p:sp>
      <p:sp>
        <p:nvSpPr>
          <p:cNvPr id="172" name="Shape 172"/>
          <p:cNvSpPr txBox="1">
            <a:spLocks noGrp="1"/>
          </p:cNvSpPr>
          <p:nvPr>
            <p:ph type="sldNum" idx="12"/>
          </p:nvPr>
        </p:nvSpPr>
        <p:spPr>
          <a:xfrm>
            <a:off x="4023092" y="8522366"/>
            <a:ext cx="3077739" cy="450185"/>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ea typeface="Calibri"/>
                <a:sym typeface="Calibri"/>
              </a:rPr>
              <a:t>1</a:t>
            </a:fld>
            <a:endParaRPr lang="en-US" sz="1200" dirty="0">
              <a:solidFill>
                <a:schemeClr val="dk1"/>
              </a:solidFill>
              <a:ea typeface="Calibri"/>
              <a:sym typeface="Calibri"/>
            </a:endParaRPr>
          </a:p>
        </p:txBody>
      </p:sp>
    </p:spTree>
    <p:extLst>
      <p:ext uri="{BB962C8B-B14F-4D97-AF65-F5344CB8AC3E}">
        <p14:creationId xmlns:p14="http://schemas.microsoft.com/office/powerpoint/2010/main" val="221446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 - LATM – APAC</a:t>
            </a:r>
            <a:r>
              <a:rPr lang="en-US" baseline="0" dirty="0"/>
              <a:t> - EMEA</a:t>
            </a:r>
            <a:endParaRPr lang="en-US" dirty="0"/>
          </a:p>
        </p:txBody>
      </p:sp>
      <p:sp>
        <p:nvSpPr>
          <p:cNvPr id="4" name="Slide Number Placeholder 3"/>
          <p:cNvSpPr>
            <a:spLocks noGrp="1"/>
          </p:cNvSpPr>
          <p:nvPr>
            <p:ph type="sldNum" sz="quarter" idx="10"/>
          </p:nvPr>
        </p:nvSpPr>
        <p:spPr/>
        <p:txBody>
          <a:bodyPr/>
          <a:lstStyle/>
          <a:p>
            <a:fld id="{73C86158-0C0B-4492-8559-E9802ECD1A0C}" type="slidenum">
              <a:rPr lang="en-IN" smtClean="0"/>
              <a:t>2</a:t>
            </a:fld>
            <a:endParaRPr lang="en-IN" dirty="0"/>
          </a:p>
        </p:txBody>
      </p:sp>
    </p:spTree>
    <p:extLst>
      <p:ext uri="{BB962C8B-B14F-4D97-AF65-F5344CB8AC3E}">
        <p14:creationId xmlns:p14="http://schemas.microsoft.com/office/powerpoint/2010/main" val="1300682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hyperlink" Target="https://www.latentview.com/"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tiff"/><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4344E-8840-41DC-8090-C221A510CE9F}"/>
              </a:ext>
            </a:extLst>
          </p:cNvPr>
          <p:cNvSpPr>
            <a:spLocks noGrp="1"/>
          </p:cNvSpPr>
          <p:nvPr>
            <p:ph type="title"/>
          </p:nvPr>
        </p:nvSpPr>
        <p:spPr/>
        <p:txBody>
          <a:bodyPr>
            <a:noAutofit/>
          </a:bodyPr>
          <a:lstStyle>
            <a:lvl1pPr>
              <a:defRPr sz="2800">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5B17655-7070-40F5-8DCF-A8D75231DAEC}"/>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a16="http://schemas.microsoft.com/office/drawing/2014/main" id="{7DE74A2D-83BB-441E-9221-A853A7C34EAB}"/>
              </a:ext>
            </a:extLst>
          </p:cNvPr>
          <p:cNvSpPr txBox="1">
            <a:spLocks/>
          </p:cNvSpPr>
          <p:nvPr userDrawn="1"/>
        </p:nvSpPr>
        <p:spPr>
          <a:xfrm>
            <a:off x="72564" y="6527800"/>
            <a:ext cx="274864"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6940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045620"/>
      </p:ext>
    </p:extLst>
  </p:cSld>
  <p:clrMapOvr>
    <a:masterClrMapping/>
  </p:clrMapOvr>
  <p:extLst mod="1">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hank you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2743200"/>
            <a:ext cx="12192000" cy="411480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8" name="Title 1">
            <a:extLst>
              <a:ext uri="{FF2B5EF4-FFF2-40B4-BE49-F238E27FC236}">
                <a16:creationId xmlns:a16="http://schemas.microsoft.com/office/drawing/2014/main" id="{E063EDAE-3C20-4872-A920-DDD64F03094B}"/>
              </a:ext>
            </a:extLst>
          </p:cNvPr>
          <p:cNvSpPr>
            <a:spLocks noGrp="1"/>
          </p:cNvSpPr>
          <p:nvPr>
            <p:ph type="ctrTitle" hasCustomPrompt="1"/>
          </p:nvPr>
        </p:nvSpPr>
        <p:spPr>
          <a:xfrm>
            <a:off x="4297680" y="3869262"/>
            <a:ext cx="3596640" cy="814926"/>
          </a:xfrm>
        </p:spPr>
        <p:txBody>
          <a:bodyPr>
            <a:noAutofit/>
          </a:bodyPr>
          <a:lstStyle>
            <a:lvl1pPr algn="ctr">
              <a:defRPr sz="4600">
                <a:solidFill>
                  <a:schemeClr val="bg1"/>
                </a:solidFill>
                <a:effectLst/>
                <a:latin typeface="Arial" panose="020B0604020202020204" pitchFamily="34" charset="0"/>
                <a:cs typeface="Arial" panose="020B0604020202020204" pitchFamily="34" charset="0"/>
              </a:defRPr>
            </a:lvl1pPr>
          </a:lstStyle>
          <a:p>
            <a:r>
              <a:rPr lang="en-US" dirty="0"/>
              <a:t>Thank you!</a:t>
            </a:r>
          </a:p>
        </p:txBody>
      </p:sp>
      <p:pic>
        <p:nvPicPr>
          <p:cNvPr id="59" name="Picture 58">
            <a:extLst>
              <a:ext uri="{FF2B5EF4-FFF2-40B4-BE49-F238E27FC236}">
                <a16:creationId xmlns:a16="http://schemas.microsoft.com/office/drawing/2014/main" id="{CDD35920-50C1-4782-9856-992F26942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02480" y="361022"/>
            <a:ext cx="2987040" cy="2112180"/>
          </a:xfrm>
          <a:prstGeom prst="rect">
            <a:avLst/>
          </a:prstGeom>
        </p:spPr>
      </p:pic>
      <p:grpSp>
        <p:nvGrpSpPr>
          <p:cNvPr id="81" name="Group 80"/>
          <p:cNvGrpSpPr/>
          <p:nvPr userDrawn="1"/>
        </p:nvGrpSpPr>
        <p:grpSpPr>
          <a:xfrm>
            <a:off x="369220" y="6091135"/>
            <a:ext cx="2782950" cy="571112"/>
            <a:chOff x="7145730" y="5048697"/>
            <a:chExt cx="2782950" cy="571112"/>
          </a:xfrm>
        </p:grpSpPr>
        <p:grpSp>
          <p:nvGrpSpPr>
            <p:cNvPr id="82" name="Group 81"/>
            <p:cNvGrpSpPr/>
            <p:nvPr/>
          </p:nvGrpSpPr>
          <p:grpSpPr>
            <a:xfrm>
              <a:off x="7145730" y="5048697"/>
              <a:ext cx="571116" cy="571112"/>
              <a:chOff x="9339783" y="4780636"/>
              <a:chExt cx="279044" cy="279044"/>
            </a:xfrm>
          </p:grpSpPr>
          <p:sp>
            <p:nvSpPr>
              <p:cNvPr id="92" name="Oval 91"/>
              <p:cNvSpPr/>
              <p:nvPr userDrawn="1"/>
            </p:nvSpPr>
            <p:spPr>
              <a:xfrm>
                <a:off x="9339783"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3" name="Freeform 31"/>
              <p:cNvSpPr>
                <a:spLocks noEditPoints="1"/>
              </p:cNvSpPr>
              <p:nvPr userDrawn="1"/>
            </p:nvSpPr>
            <p:spPr bwMode="auto">
              <a:xfrm>
                <a:off x="9392002" y="4832855"/>
                <a:ext cx="174606" cy="174606"/>
              </a:xfrm>
              <a:custGeom>
                <a:avLst/>
                <a:gdLst/>
                <a:ahLst/>
                <a:cxnLst>
                  <a:cxn ang="0">
                    <a:pos x="365" y="125"/>
                  </a:cxn>
                  <a:cxn ang="0">
                    <a:pos x="319" y="138"/>
                  </a:cxn>
                  <a:cxn ang="0">
                    <a:pos x="290" y="169"/>
                  </a:cxn>
                  <a:cxn ang="0">
                    <a:pos x="280" y="219"/>
                  </a:cxn>
                  <a:cxn ang="0">
                    <a:pos x="276" y="257"/>
                  </a:cxn>
                  <a:cxn ang="0">
                    <a:pos x="241" y="258"/>
                  </a:cxn>
                  <a:cxn ang="0">
                    <a:pos x="268" y="325"/>
                  </a:cxn>
                  <a:cxn ang="0">
                    <a:pos x="282" y="330"/>
                  </a:cxn>
                  <a:cxn ang="0">
                    <a:pos x="283" y="534"/>
                  </a:cxn>
                  <a:cxn ang="0">
                    <a:pos x="339" y="536"/>
                  </a:cxn>
                  <a:cxn ang="0">
                    <a:pos x="368" y="529"/>
                  </a:cxn>
                  <a:cxn ang="0">
                    <a:pos x="422" y="325"/>
                  </a:cxn>
                  <a:cxn ang="0">
                    <a:pos x="426" y="294"/>
                  </a:cxn>
                  <a:cxn ang="0">
                    <a:pos x="427" y="258"/>
                  </a:cxn>
                  <a:cxn ang="0">
                    <a:pos x="394" y="260"/>
                  </a:cxn>
                  <a:cxn ang="0">
                    <a:pos x="373" y="258"/>
                  </a:cxn>
                  <a:cxn ang="0">
                    <a:pos x="368" y="212"/>
                  </a:cxn>
                  <a:cxn ang="0">
                    <a:pos x="373" y="193"/>
                  </a:cxn>
                  <a:cxn ang="0">
                    <a:pos x="427" y="126"/>
                  </a:cxn>
                  <a:cxn ang="0">
                    <a:pos x="319" y="0"/>
                  </a:cxn>
                  <a:cxn ang="0">
                    <a:pos x="420" y="10"/>
                  </a:cxn>
                  <a:cxn ang="0">
                    <a:pos x="506" y="42"/>
                  </a:cxn>
                  <a:cxn ang="0">
                    <a:pos x="572" y="90"/>
                  </a:cxn>
                  <a:cxn ang="0">
                    <a:pos x="620" y="153"/>
                  </a:cxn>
                  <a:cxn ang="0">
                    <a:pos x="651" y="226"/>
                  </a:cxn>
                  <a:cxn ang="0">
                    <a:pos x="663" y="305"/>
                  </a:cxn>
                  <a:cxn ang="0">
                    <a:pos x="659" y="385"/>
                  </a:cxn>
                  <a:cxn ang="0">
                    <a:pos x="638" y="462"/>
                  </a:cxn>
                  <a:cxn ang="0">
                    <a:pos x="601" y="533"/>
                  </a:cxn>
                  <a:cxn ang="0">
                    <a:pos x="547" y="593"/>
                  </a:cxn>
                  <a:cxn ang="0">
                    <a:pos x="477" y="636"/>
                  </a:cxn>
                  <a:cxn ang="0">
                    <a:pos x="391" y="661"/>
                  </a:cxn>
                  <a:cxn ang="0">
                    <a:pos x="290" y="661"/>
                  </a:cxn>
                  <a:cxn ang="0">
                    <a:pos x="216" y="640"/>
                  </a:cxn>
                  <a:cxn ang="0">
                    <a:pos x="144" y="598"/>
                  </a:cxn>
                  <a:cxn ang="0">
                    <a:pos x="80" y="537"/>
                  </a:cxn>
                  <a:cxn ang="0">
                    <a:pos x="30" y="461"/>
                  </a:cxn>
                  <a:cxn ang="0">
                    <a:pos x="3" y="373"/>
                  </a:cxn>
                  <a:cxn ang="0">
                    <a:pos x="3" y="276"/>
                  </a:cxn>
                  <a:cxn ang="0">
                    <a:pos x="37" y="175"/>
                  </a:cxn>
                  <a:cxn ang="0">
                    <a:pos x="73" y="121"/>
                  </a:cxn>
                  <a:cxn ang="0">
                    <a:pos x="125" y="71"/>
                  </a:cxn>
                  <a:cxn ang="0">
                    <a:pos x="191" y="31"/>
                  </a:cxn>
                  <a:cxn ang="0">
                    <a:pos x="273" y="6"/>
                  </a:cxn>
                </a:cxnLst>
                <a:rect l="0" t="0" r="r" b="b"/>
                <a:pathLst>
                  <a:path w="663" h="663">
                    <a:moveTo>
                      <a:pt x="394" y="124"/>
                    </a:moveTo>
                    <a:lnTo>
                      <a:pt x="365" y="125"/>
                    </a:lnTo>
                    <a:lnTo>
                      <a:pt x="340" y="129"/>
                    </a:lnTo>
                    <a:lnTo>
                      <a:pt x="319" y="138"/>
                    </a:lnTo>
                    <a:lnTo>
                      <a:pt x="302" y="151"/>
                    </a:lnTo>
                    <a:lnTo>
                      <a:pt x="290" y="169"/>
                    </a:lnTo>
                    <a:lnTo>
                      <a:pt x="283" y="192"/>
                    </a:lnTo>
                    <a:lnTo>
                      <a:pt x="280" y="219"/>
                    </a:lnTo>
                    <a:lnTo>
                      <a:pt x="283" y="253"/>
                    </a:lnTo>
                    <a:lnTo>
                      <a:pt x="276" y="257"/>
                    </a:lnTo>
                    <a:lnTo>
                      <a:pt x="266" y="258"/>
                    </a:lnTo>
                    <a:lnTo>
                      <a:pt x="241" y="258"/>
                    </a:lnTo>
                    <a:lnTo>
                      <a:pt x="241" y="325"/>
                    </a:lnTo>
                    <a:lnTo>
                      <a:pt x="268" y="325"/>
                    </a:lnTo>
                    <a:lnTo>
                      <a:pt x="276" y="326"/>
                    </a:lnTo>
                    <a:lnTo>
                      <a:pt x="282" y="330"/>
                    </a:lnTo>
                    <a:lnTo>
                      <a:pt x="283" y="337"/>
                    </a:lnTo>
                    <a:lnTo>
                      <a:pt x="283" y="534"/>
                    </a:lnTo>
                    <a:lnTo>
                      <a:pt x="319" y="534"/>
                    </a:lnTo>
                    <a:lnTo>
                      <a:pt x="339" y="536"/>
                    </a:lnTo>
                    <a:lnTo>
                      <a:pt x="355" y="534"/>
                    </a:lnTo>
                    <a:lnTo>
                      <a:pt x="368" y="529"/>
                    </a:lnTo>
                    <a:lnTo>
                      <a:pt x="368" y="325"/>
                    </a:lnTo>
                    <a:lnTo>
                      <a:pt x="422" y="325"/>
                    </a:lnTo>
                    <a:lnTo>
                      <a:pt x="425" y="310"/>
                    </a:lnTo>
                    <a:lnTo>
                      <a:pt x="426" y="294"/>
                    </a:lnTo>
                    <a:lnTo>
                      <a:pt x="427" y="278"/>
                    </a:lnTo>
                    <a:lnTo>
                      <a:pt x="427" y="258"/>
                    </a:lnTo>
                    <a:lnTo>
                      <a:pt x="405" y="258"/>
                    </a:lnTo>
                    <a:lnTo>
                      <a:pt x="394" y="260"/>
                    </a:lnTo>
                    <a:lnTo>
                      <a:pt x="383" y="260"/>
                    </a:lnTo>
                    <a:lnTo>
                      <a:pt x="373" y="258"/>
                    </a:lnTo>
                    <a:lnTo>
                      <a:pt x="368" y="253"/>
                    </a:lnTo>
                    <a:lnTo>
                      <a:pt x="368" y="212"/>
                    </a:lnTo>
                    <a:lnTo>
                      <a:pt x="369" y="201"/>
                    </a:lnTo>
                    <a:lnTo>
                      <a:pt x="373" y="193"/>
                    </a:lnTo>
                    <a:lnTo>
                      <a:pt x="427" y="193"/>
                    </a:lnTo>
                    <a:lnTo>
                      <a:pt x="427" y="126"/>
                    </a:lnTo>
                    <a:lnTo>
                      <a:pt x="394" y="124"/>
                    </a:lnTo>
                    <a:close/>
                    <a:moveTo>
                      <a:pt x="319" y="0"/>
                    </a:moveTo>
                    <a:lnTo>
                      <a:pt x="372" y="2"/>
                    </a:lnTo>
                    <a:lnTo>
                      <a:pt x="420" y="10"/>
                    </a:lnTo>
                    <a:lnTo>
                      <a:pt x="465" y="24"/>
                    </a:lnTo>
                    <a:lnTo>
                      <a:pt x="506" y="42"/>
                    </a:lnTo>
                    <a:lnTo>
                      <a:pt x="541" y="65"/>
                    </a:lnTo>
                    <a:lnTo>
                      <a:pt x="572" y="90"/>
                    </a:lnTo>
                    <a:lnTo>
                      <a:pt x="598" y="121"/>
                    </a:lnTo>
                    <a:lnTo>
                      <a:pt x="620" y="153"/>
                    </a:lnTo>
                    <a:lnTo>
                      <a:pt x="638" y="189"/>
                    </a:lnTo>
                    <a:lnTo>
                      <a:pt x="651" y="226"/>
                    </a:lnTo>
                    <a:lnTo>
                      <a:pt x="659" y="265"/>
                    </a:lnTo>
                    <a:lnTo>
                      <a:pt x="663" y="305"/>
                    </a:lnTo>
                    <a:lnTo>
                      <a:pt x="663" y="346"/>
                    </a:lnTo>
                    <a:lnTo>
                      <a:pt x="659" y="385"/>
                    </a:lnTo>
                    <a:lnTo>
                      <a:pt x="651" y="425"/>
                    </a:lnTo>
                    <a:lnTo>
                      <a:pt x="638" y="462"/>
                    </a:lnTo>
                    <a:lnTo>
                      <a:pt x="622" y="498"/>
                    </a:lnTo>
                    <a:lnTo>
                      <a:pt x="601" y="533"/>
                    </a:lnTo>
                    <a:lnTo>
                      <a:pt x="576" y="564"/>
                    </a:lnTo>
                    <a:lnTo>
                      <a:pt x="547" y="593"/>
                    </a:lnTo>
                    <a:lnTo>
                      <a:pt x="513" y="616"/>
                    </a:lnTo>
                    <a:lnTo>
                      <a:pt x="477" y="636"/>
                    </a:lnTo>
                    <a:lnTo>
                      <a:pt x="436" y="651"/>
                    </a:lnTo>
                    <a:lnTo>
                      <a:pt x="391" y="661"/>
                    </a:lnTo>
                    <a:lnTo>
                      <a:pt x="343" y="663"/>
                    </a:lnTo>
                    <a:lnTo>
                      <a:pt x="290" y="661"/>
                    </a:lnTo>
                    <a:lnTo>
                      <a:pt x="254" y="654"/>
                    </a:lnTo>
                    <a:lnTo>
                      <a:pt x="216" y="640"/>
                    </a:lnTo>
                    <a:lnTo>
                      <a:pt x="179" y="622"/>
                    </a:lnTo>
                    <a:lnTo>
                      <a:pt x="144" y="598"/>
                    </a:lnTo>
                    <a:lnTo>
                      <a:pt x="111" y="570"/>
                    </a:lnTo>
                    <a:lnTo>
                      <a:pt x="80" y="537"/>
                    </a:lnTo>
                    <a:lnTo>
                      <a:pt x="53" y="501"/>
                    </a:lnTo>
                    <a:lnTo>
                      <a:pt x="30" y="461"/>
                    </a:lnTo>
                    <a:lnTo>
                      <a:pt x="14" y="419"/>
                    </a:lnTo>
                    <a:lnTo>
                      <a:pt x="3" y="373"/>
                    </a:lnTo>
                    <a:lnTo>
                      <a:pt x="0" y="326"/>
                    </a:lnTo>
                    <a:lnTo>
                      <a:pt x="3" y="276"/>
                    </a:lnTo>
                    <a:lnTo>
                      <a:pt x="15" y="226"/>
                    </a:lnTo>
                    <a:lnTo>
                      <a:pt x="37" y="175"/>
                    </a:lnTo>
                    <a:lnTo>
                      <a:pt x="54" y="147"/>
                    </a:lnTo>
                    <a:lnTo>
                      <a:pt x="73" y="121"/>
                    </a:lnTo>
                    <a:lnTo>
                      <a:pt x="97" y="95"/>
                    </a:lnTo>
                    <a:lnTo>
                      <a:pt x="125" y="71"/>
                    </a:lnTo>
                    <a:lnTo>
                      <a:pt x="157" y="49"/>
                    </a:lnTo>
                    <a:lnTo>
                      <a:pt x="191" y="31"/>
                    </a:lnTo>
                    <a:lnTo>
                      <a:pt x="230" y="15"/>
                    </a:lnTo>
                    <a:lnTo>
                      <a:pt x="273" y="6"/>
                    </a:lnTo>
                    <a:lnTo>
                      <a:pt x="319"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3" name="Group 82"/>
            <p:cNvGrpSpPr/>
            <p:nvPr/>
          </p:nvGrpSpPr>
          <p:grpSpPr>
            <a:xfrm>
              <a:off x="7883008" y="5048697"/>
              <a:ext cx="571116" cy="571112"/>
              <a:chOff x="9665008" y="4780636"/>
              <a:chExt cx="279044" cy="279044"/>
            </a:xfrm>
          </p:grpSpPr>
          <p:sp>
            <p:nvSpPr>
              <p:cNvPr id="90" name="Oval 89"/>
              <p:cNvSpPr/>
              <p:nvPr userDrawn="1"/>
            </p:nvSpPr>
            <p:spPr>
              <a:xfrm>
                <a:off x="9665008"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91" name="Freeform 48"/>
              <p:cNvSpPr>
                <a:spLocks/>
              </p:cNvSpPr>
              <p:nvPr userDrawn="1"/>
            </p:nvSpPr>
            <p:spPr bwMode="auto">
              <a:xfrm>
                <a:off x="9706594" y="4852691"/>
                <a:ext cx="195872" cy="134934"/>
              </a:xfrm>
              <a:custGeom>
                <a:avLst/>
                <a:gdLst>
                  <a:gd name="T0" fmla="*/ 652 w 720"/>
                  <a:gd name="T1" fmla="*/ 218 h 496"/>
                  <a:gd name="T2" fmla="*/ 688 w 720"/>
                  <a:gd name="T3" fmla="*/ 206 h 496"/>
                  <a:gd name="T4" fmla="*/ 712 w 720"/>
                  <a:gd name="T5" fmla="*/ 182 h 496"/>
                  <a:gd name="T6" fmla="*/ 700 w 720"/>
                  <a:gd name="T7" fmla="*/ 180 h 496"/>
                  <a:gd name="T8" fmla="*/ 642 w 720"/>
                  <a:gd name="T9" fmla="*/ 186 h 496"/>
                  <a:gd name="T10" fmla="*/ 628 w 720"/>
                  <a:gd name="T11" fmla="*/ 166 h 496"/>
                  <a:gd name="T12" fmla="*/ 606 w 720"/>
                  <a:gd name="T13" fmla="*/ 118 h 496"/>
                  <a:gd name="T14" fmla="*/ 548 w 720"/>
                  <a:gd name="T15" fmla="*/ 64 h 496"/>
                  <a:gd name="T16" fmla="*/ 500 w 720"/>
                  <a:gd name="T17" fmla="*/ 48 h 496"/>
                  <a:gd name="T18" fmla="*/ 476 w 720"/>
                  <a:gd name="T19" fmla="*/ 48 h 496"/>
                  <a:gd name="T20" fmla="*/ 504 w 720"/>
                  <a:gd name="T21" fmla="*/ 38 h 496"/>
                  <a:gd name="T22" fmla="*/ 534 w 720"/>
                  <a:gd name="T23" fmla="*/ 26 h 496"/>
                  <a:gd name="T24" fmla="*/ 536 w 720"/>
                  <a:gd name="T25" fmla="*/ 16 h 496"/>
                  <a:gd name="T26" fmla="*/ 524 w 720"/>
                  <a:gd name="T27" fmla="*/ 12 h 496"/>
                  <a:gd name="T28" fmla="*/ 466 w 720"/>
                  <a:gd name="T29" fmla="*/ 30 h 496"/>
                  <a:gd name="T30" fmla="*/ 490 w 720"/>
                  <a:gd name="T31" fmla="*/ 18 h 496"/>
                  <a:gd name="T32" fmla="*/ 504 w 720"/>
                  <a:gd name="T33" fmla="*/ 0 h 496"/>
                  <a:gd name="T34" fmla="*/ 474 w 720"/>
                  <a:gd name="T35" fmla="*/ 10 h 496"/>
                  <a:gd name="T36" fmla="*/ 448 w 720"/>
                  <a:gd name="T37" fmla="*/ 26 h 496"/>
                  <a:gd name="T38" fmla="*/ 460 w 720"/>
                  <a:gd name="T39" fmla="*/ 6 h 496"/>
                  <a:gd name="T40" fmla="*/ 406 w 720"/>
                  <a:gd name="T41" fmla="*/ 58 h 496"/>
                  <a:gd name="T42" fmla="*/ 368 w 720"/>
                  <a:gd name="T43" fmla="*/ 128 h 496"/>
                  <a:gd name="T44" fmla="*/ 318 w 720"/>
                  <a:gd name="T45" fmla="*/ 154 h 496"/>
                  <a:gd name="T46" fmla="*/ 292 w 720"/>
                  <a:gd name="T47" fmla="*/ 136 h 496"/>
                  <a:gd name="T48" fmla="*/ 166 w 720"/>
                  <a:gd name="T49" fmla="*/ 76 h 496"/>
                  <a:gd name="T50" fmla="*/ 108 w 720"/>
                  <a:gd name="T51" fmla="*/ 66 h 496"/>
                  <a:gd name="T52" fmla="*/ 120 w 720"/>
                  <a:gd name="T53" fmla="*/ 100 h 496"/>
                  <a:gd name="T54" fmla="*/ 152 w 720"/>
                  <a:gd name="T55" fmla="*/ 134 h 496"/>
                  <a:gd name="T56" fmla="*/ 160 w 720"/>
                  <a:gd name="T57" fmla="*/ 144 h 496"/>
                  <a:gd name="T58" fmla="*/ 124 w 720"/>
                  <a:gd name="T59" fmla="*/ 150 h 496"/>
                  <a:gd name="T60" fmla="*/ 138 w 720"/>
                  <a:gd name="T61" fmla="*/ 184 h 496"/>
                  <a:gd name="T62" fmla="*/ 170 w 720"/>
                  <a:gd name="T63" fmla="*/ 210 h 496"/>
                  <a:gd name="T64" fmla="*/ 206 w 720"/>
                  <a:gd name="T65" fmla="*/ 222 h 496"/>
                  <a:gd name="T66" fmla="*/ 166 w 720"/>
                  <a:gd name="T67" fmla="*/ 234 h 496"/>
                  <a:gd name="T68" fmla="*/ 160 w 720"/>
                  <a:gd name="T69" fmla="*/ 250 h 496"/>
                  <a:gd name="T70" fmla="*/ 186 w 720"/>
                  <a:gd name="T71" fmla="*/ 274 h 496"/>
                  <a:gd name="T72" fmla="*/ 226 w 720"/>
                  <a:gd name="T73" fmla="*/ 286 h 496"/>
                  <a:gd name="T74" fmla="*/ 236 w 720"/>
                  <a:gd name="T75" fmla="*/ 290 h 496"/>
                  <a:gd name="T76" fmla="*/ 218 w 720"/>
                  <a:gd name="T77" fmla="*/ 306 h 496"/>
                  <a:gd name="T78" fmla="*/ 216 w 720"/>
                  <a:gd name="T79" fmla="*/ 322 h 496"/>
                  <a:gd name="T80" fmla="*/ 236 w 720"/>
                  <a:gd name="T81" fmla="*/ 342 h 496"/>
                  <a:gd name="T82" fmla="*/ 268 w 720"/>
                  <a:gd name="T83" fmla="*/ 346 h 496"/>
                  <a:gd name="T84" fmla="*/ 220 w 720"/>
                  <a:gd name="T85" fmla="*/ 382 h 496"/>
                  <a:gd name="T86" fmla="*/ 168 w 720"/>
                  <a:gd name="T87" fmla="*/ 400 h 496"/>
                  <a:gd name="T88" fmla="*/ 112 w 720"/>
                  <a:gd name="T89" fmla="*/ 404 h 496"/>
                  <a:gd name="T90" fmla="*/ 60 w 720"/>
                  <a:gd name="T91" fmla="*/ 392 h 496"/>
                  <a:gd name="T92" fmla="*/ 14 w 720"/>
                  <a:gd name="T93" fmla="*/ 364 h 496"/>
                  <a:gd name="T94" fmla="*/ 18 w 720"/>
                  <a:gd name="T95" fmla="*/ 376 h 496"/>
                  <a:gd name="T96" fmla="*/ 76 w 720"/>
                  <a:gd name="T97" fmla="*/ 430 h 496"/>
                  <a:gd name="T98" fmla="*/ 144 w 720"/>
                  <a:gd name="T99" fmla="*/ 468 h 496"/>
                  <a:gd name="T100" fmla="*/ 216 w 720"/>
                  <a:gd name="T101" fmla="*/ 490 h 496"/>
                  <a:gd name="T102" fmla="*/ 290 w 720"/>
                  <a:gd name="T103" fmla="*/ 496 h 496"/>
                  <a:gd name="T104" fmla="*/ 364 w 720"/>
                  <a:gd name="T105" fmla="*/ 490 h 496"/>
                  <a:gd name="T106" fmla="*/ 434 w 720"/>
                  <a:gd name="T107" fmla="*/ 470 h 496"/>
                  <a:gd name="T108" fmla="*/ 498 w 720"/>
                  <a:gd name="T109" fmla="*/ 438 h 496"/>
                  <a:gd name="T110" fmla="*/ 554 w 720"/>
                  <a:gd name="T111" fmla="*/ 396 h 496"/>
                  <a:gd name="T112" fmla="*/ 598 w 720"/>
                  <a:gd name="T113" fmla="*/ 344 h 496"/>
                  <a:gd name="T114" fmla="*/ 628 w 720"/>
                  <a:gd name="T115" fmla="*/ 284 h 496"/>
                  <a:gd name="T116" fmla="*/ 650 w 720"/>
                  <a:gd name="T117" fmla="*/ 260 h 496"/>
                  <a:gd name="T118" fmla="*/ 688 w 720"/>
                  <a:gd name="T119" fmla="*/ 252 h 496"/>
                  <a:gd name="T120" fmla="*/ 720 w 720"/>
                  <a:gd name="T121" fmla="*/ 228 h 496"/>
                  <a:gd name="T122" fmla="*/ 678 w 720"/>
                  <a:gd name="T123" fmla="*/ 230 h 496"/>
                  <a:gd name="T124" fmla="*/ 638 w 720"/>
                  <a:gd name="T125" fmla="*/ 22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0" h="496">
                    <a:moveTo>
                      <a:pt x="638" y="220"/>
                    </a:moveTo>
                    <a:lnTo>
                      <a:pt x="638" y="220"/>
                    </a:lnTo>
                    <a:lnTo>
                      <a:pt x="652" y="218"/>
                    </a:lnTo>
                    <a:lnTo>
                      <a:pt x="666" y="216"/>
                    </a:lnTo>
                    <a:lnTo>
                      <a:pt x="678" y="210"/>
                    </a:lnTo>
                    <a:lnTo>
                      <a:pt x="688" y="206"/>
                    </a:lnTo>
                    <a:lnTo>
                      <a:pt x="698" y="198"/>
                    </a:lnTo>
                    <a:lnTo>
                      <a:pt x="706" y="192"/>
                    </a:lnTo>
                    <a:lnTo>
                      <a:pt x="712" y="182"/>
                    </a:lnTo>
                    <a:lnTo>
                      <a:pt x="716" y="174"/>
                    </a:lnTo>
                    <a:lnTo>
                      <a:pt x="716" y="174"/>
                    </a:lnTo>
                    <a:lnTo>
                      <a:pt x="700" y="180"/>
                    </a:lnTo>
                    <a:lnTo>
                      <a:pt x="678" y="186"/>
                    </a:lnTo>
                    <a:lnTo>
                      <a:pt x="654" y="186"/>
                    </a:lnTo>
                    <a:lnTo>
                      <a:pt x="642" y="186"/>
                    </a:lnTo>
                    <a:lnTo>
                      <a:pt x="632" y="184"/>
                    </a:lnTo>
                    <a:lnTo>
                      <a:pt x="632" y="184"/>
                    </a:lnTo>
                    <a:lnTo>
                      <a:pt x="628" y="166"/>
                    </a:lnTo>
                    <a:lnTo>
                      <a:pt x="628" y="166"/>
                    </a:lnTo>
                    <a:lnTo>
                      <a:pt x="618" y="142"/>
                    </a:lnTo>
                    <a:lnTo>
                      <a:pt x="606" y="118"/>
                    </a:lnTo>
                    <a:lnTo>
                      <a:pt x="590" y="96"/>
                    </a:lnTo>
                    <a:lnTo>
                      <a:pt x="570" y="78"/>
                    </a:lnTo>
                    <a:lnTo>
                      <a:pt x="548" y="64"/>
                    </a:lnTo>
                    <a:lnTo>
                      <a:pt x="526" y="54"/>
                    </a:lnTo>
                    <a:lnTo>
                      <a:pt x="514" y="50"/>
                    </a:lnTo>
                    <a:lnTo>
                      <a:pt x="500" y="48"/>
                    </a:lnTo>
                    <a:lnTo>
                      <a:pt x="488" y="46"/>
                    </a:lnTo>
                    <a:lnTo>
                      <a:pt x="476" y="48"/>
                    </a:lnTo>
                    <a:lnTo>
                      <a:pt x="476" y="48"/>
                    </a:lnTo>
                    <a:lnTo>
                      <a:pt x="492" y="42"/>
                    </a:lnTo>
                    <a:lnTo>
                      <a:pt x="492" y="42"/>
                    </a:lnTo>
                    <a:lnTo>
                      <a:pt x="504" y="38"/>
                    </a:lnTo>
                    <a:lnTo>
                      <a:pt x="520" y="34"/>
                    </a:lnTo>
                    <a:lnTo>
                      <a:pt x="528" y="30"/>
                    </a:lnTo>
                    <a:lnTo>
                      <a:pt x="534" y="26"/>
                    </a:lnTo>
                    <a:lnTo>
                      <a:pt x="538" y="22"/>
                    </a:lnTo>
                    <a:lnTo>
                      <a:pt x="536" y="16"/>
                    </a:lnTo>
                    <a:lnTo>
                      <a:pt x="536" y="16"/>
                    </a:lnTo>
                    <a:lnTo>
                      <a:pt x="536" y="14"/>
                    </a:lnTo>
                    <a:lnTo>
                      <a:pt x="532" y="12"/>
                    </a:lnTo>
                    <a:lnTo>
                      <a:pt x="524" y="12"/>
                    </a:lnTo>
                    <a:lnTo>
                      <a:pt x="514" y="14"/>
                    </a:lnTo>
                    <a:lnTo>
                      <a:pt x="504" y="16"/>
                    </a:lnTo>
                    <a:lnTo>
                      <a:pt x="466" y="30"/>
                    </a:lnTo>
                    <a:lnTo>
                      <a:pt x="466" y="30"/>
                    </a:lnTo>
                    <a:lnTo>
                      <a:pt x="478" y="24"/>
                    </a:lnTo>
                    <a:lnTo>
                      <a:pt x="490" y="18"/>
                    </a:lnTo>
                    <a:lnTo>
                      <a:pt x="500" y="10"/>
                    </a:lnTo>
                    <a:lnTo>
                      <a:pt x="504" y="6"/>
                    </a:lnTo>
                    <a:lnTo>
                      <a:pt x="504" y="0"/>
                    </a:lnTo>
                    <a:lnTo>
                      <a:pt x="504" y="0"/>
                    </a:lnTo>
                    <a:lnTo>
                      <a:pt x="490" y="4"/>
                    </a:lnTo>
                    <a:lnTo>
                      <a:pt x="474" y="10"/>
                    </a:lnTo>
                    <a:lnTo>
                      <a:pt x="462" y="16"/>
                    </a:lnTo>
                    <a:lnTo>
                      <a:pt x="448" y="26"/>
                    </a:lnTo>
                    <a:lnTo>
                      <a:pt x="448" y="26"/>
                    </a:lnTo>
                    <a:lnTo>
                      <a:pt x="456" y="16"/>
                    </a:lnTo>
                    <a:lnTo>
                      <a:pt x="460" y="6"/>
                    </a:lnTo>
                    <a:lnTo>
                      <a:pt x="460" y="6"/>
                    </a:lnTo>
                    <a:lnTo>
                      <a:pt x="440" y="20"/>
                    </a:lnTo>
                    <a:lnTo>
                      <a:pt x="422" y="38"/>
                    </a:lnTo>
                    <a:lnTo>
                      <a:pt x="406" y="58"/>
                    </a:lnTo>
                    <a:lnTo>
                      <a:pt x="392" y="80"/>
                    </a:lnTo>
                    <a:lnTo>
                      <a:pt x="380" y="104"/>
                    </a:lnTo>
                    <a:lnTo>
                      <a:pt x="368" y="128"/>
                    </a:lnTo>
                    <a:lnTo>
                      <a:pt x="346" y="180"/>
                    </a:lnTo>
                    <a:lnTo>
                      <a:pt x="346" y="180"/>
                    </a:lnTo>
                    <a:lnTo>
                      <a:pt x="318" y="154"/>
                    </a:lnTo>
                    <a:lnTo>
                      <a:pt x="304" y="144"/>
                    </a:lnTo>
                    <a:lnTo>
                      <a:pt x="292" y="136"/>
                    </a:lnTo>
                    <a:lnTo>
                      <a:pt x="292" y="136"/>
                    </a:lnTo>
                    <a:lnTo>
                      <a:pt x="256" y="116"/>
                    </a:lnTo>
                    <a:lnTo>
                      <a:pt x="214" y="98"/>
                    </a:lnTo>
                    <a:lnTo>
                      <a:pt x="166" y="76"/>
                    </a:lnTo>
                    <a:lnTo>
                      <a:pt x="108" y="54"/>
                    </a:lnTo>
                    <a:lnTo>
                      <a:pt x="108" y="54"/>
                    </a:lnTo>
                    <a:lnTo>
                      <a:pt x="108" y="66"/>
                    </a:lnTo>
                    <a:lnTo>
                      <a:pt x="110" y="76"/>
                    </a:lnTo>
                    <a:lnTo>
                      <a:pt x="114" y="88"/>
                    </a:lnTo>
                    <a:lnTo>
                      <a:pt x="120" y="100"/>
                    </a:lnTo>
                    <a:lnTo>
                      <a:pt x="128" y="112"/>
                    </a:lnTo>
                    <a:lnTo>
                      <a:pt x="138" y="124"/>
                    </a:lnTo>
                    <a:lnTo>
                      <a:pt x="152" y="134"/>
                    </a:lnTo>
                    <a:lnTo>
                      <a:pt x="170" y="144"/>
                    </a:lnTo>
                    <a:lnTo>
                      <a:pt x="170" y="144"/>
                    </a:lnTo>
                    <a:lnTo>
                      <a:pt x="160" y="144"/>
                    </a:lnTo>
                    <a:lnTo>
                      <a:pt x="148" y="146"/>
                    </a:lnTo>
                    <a:lnTo>
                      <a:pt x="124" y="150"/>
                    </a:lnTo>
                    <a:lnTo>
                      <a:pt x="124" y="150"/>
                    </a:lnTo>
                    <a:lnTo>
                      <a:pt x="128" y="162"/>
                    </a:lnTo>
                    <a:lnTo>
                      <a:pt x="132" y="172"/>
                    </a:lnTo>
                    <a:lnTo>
                      <a:pt x="138" y="184"/>
                    </a:lnTo>
                    <a:lnTo>
                      <a:pt x="146" y="194"/>
                    </a:lnTo>
                    <a:lnTo>
                      <a:pt x="158" y="202"/>
                    </a:lnTo>
                    <a:lnTo>
                      <a:pt x="170" y="210"/>
                    </a:lnTo>
                    <a:lnTo>
                      <a:pt x="186" y="216"/>
                    </a:lnTo>
                    <a:lnTo>
                      <a:pt x="206" y="222"/>
                    </a:lnTo>
                    <a:lnTo>
                      <a:pt x="206" y="222"/>
                    </a:lnTo>
                    <a:lnTo>
                      <a:pt x="188" y="224"/>
                    </a:lnTo>
                    <a:lnTo>
                      <a:pt x="176" y="228"/>
                    </a:lnTo>
                    <a:lnTo>
                      <a:pt x="166" y="234"/>
                    </a:lnTo>
                    <a:lnTo>
                      <a:pt x="156" y="242"/>
                    </a:lnTo>
                    <a:lnTo>
                      <a:pt x="156" y="242"/>
                    </a:lnTo>
                    <a:lnTo>
                      <a:pt x="160" y="250"/>
                    </a:lnTo>
                    <a:lnTo>
                      <a:pt x="168" y="258"/>
                    </a:lnTo>
                    <a:lnTo>
                      <a:pt x="176" y="266"/>
                    </a:lnTo>
                    <a:lnTo>
                      <a:pt x="186" y="274"/>
                    </a:lnTo>
                    <a:lnTo>
                      <a:pt x="198" y="280"/>
                    </a:lnTo>
                    <a:lnTo>
                      <a:pt x="212" y="284"/>
                    </a:lnTo>
                    <a:lnTo>
                      <a:pt x="226" y="286"/>
                    </a:lnTo>
                    <a:lnTo>
                      <a:pt x="244" y="284"/>
                    </a:lnTo>
                    <a:lnTo>
                      <a:pt x="244" y="284"/>
                    </a:lnTo>
                    <a:lnTo>
                      <a:pt x="236" y="290"/>
                    </a:lnTo>
                    <a:lnTo>
                      <a:pt x="228" y="294"/>
                    </a:lnTo>
                    <a:lnTo>
                      <a:pt x="222" y="300"/>
                    </a:lnTo>
                    <a:lnTo>
                      <a:pt x="218" y="306"/>
                    </a:lnTo>
                    <a:lnTo>
                      <a:pt x="216" y="310"/>
                    </a:lnTo>
                    <a:lnTo>
                      <a:pt x="216" y="316"/>
                    </a:lnTo>
                    <a:lnTo>
                      <a:pt x="216" y="322"/>
                    </a:lnTo>
                    <a:lnTo>
                      <a:pt x="218" y="326"/>
                    </a:lnTo>
                    <a:lnTo>
                      <a:pt x="226" y="336"/>
                    </a:lnTo>
                    <a:lnTo>
                      <a:pt x="236" y="342"/>
                    </a:lnTo>
                    <a:lnTo>
                      <a:pt x="250" y="346"/>
                    </a:lnTo>
                    <a:lnTo>
                      <a:pt x="268" y="346"/>
                    </a:lnTo>
                    <a:lnTo>
                      <a:pt x="268" y="346"/>
                    </a:lnTo>
                    <a:lnTo>
                      <a:pt x="252" y="360"/>
                    </a:lnTo>
                    <a:lnTo>
                      <a:pt x="236" y="372"/>
                    </a:lnTo>
                    <a:lnTo>
                      <a:pt x="220" y="382"/>
                    </a:lnTo>
                    <a:lnTo>
                      <a:pt x="202" y="390"/>
                    </a:lnTo>
                    <a:lnTo>
                      <a:pt x="186" y="396"/>
                    </a:lnTo>
                    <a:lnTo>
                      <a:pt x="168" y="400"/>
                    </a:lnTo>
                    <a:lnTo>
                      <a:pt x="150" y="404"/>
                    </a:lnTo>
                    <a:lnTo>
                      <a:pt x="130" y="404"/>
                    </a:lnTo>
                    <a:lnTo>
                      <a:pt x="112" y="404"/>
                    </a:lnTo>
                    <a:lnTo>
                      <a:pt x="94" y="400"/>
                    </a:lnTo>
                    <a:lnTo>
                      <a:pt x="78" y="396"/>
                    </a:lnTo>
                    <a:lnTo>
                      <a:pt x="60" y="392"/>
                    </a:lnTo>
                    <a:lnTo>
                      <a:pt x="44" y="384"/>
                    </a:lnTo>
                    <a:lnTo>
                      <a:pt x="28" y="376"/>
                    </a:lnTo>
                    <a:lnTo>
                      <a:pt x="14" y="364"/>
                    </a:lnTo>
                    <a:lnTo>
                      <a:pt x="0" y="354"/>
                    </a:lnTo>
                    <a:lnTo>
                      <a:pt x="0" y="354"/>
                    </a:lnTo>
                    <a:lnTo>
                      <a:pt x="18" y="376"/>
                    </a:lnTo>
                    <a:lnTo>
                      <a:pt x="36" y="396"/>
                    </a:lnTo>
                    <a:lnTo>
                      <a:pt x="56" y="414"/>
                    </a:lnTo>
                    <a:lnTo>
                      <a:pt x="76" y="430"/>
                    </a:lnTo>
                    <a:lnTo>
                      <a:pt x="98" y="444"/>
                    </a:lnTo>
                    <a:lnTo>
                      <a:pt x="120" y="456"/>
                    </a:lnTo>
                    <a:lnTo>
                      <a:pt x="144" y="468"/>
                    </a:lnTo>
                    <a:lnTo>
                      <a:pt x="168" y="476"/>
                    </a:lnTo>
                    <a:lnTo>
                      <a:pt x="192" y="484"/>
                    </a:lnTo>
                    <a:lnTo>
                      <a:pt x="216" y="490"/>
                    </a:lnTo>
                    <a:lnTo>
                      <a:pt x="240" y="494"/>
                    </a:lnTo>
                    <a:lnTo>
                      <a:pt x="264" y="496"/>
                    </a:lnTo>
                    <a:lnTo>
                      <a:pt x="290" y="496"/>
                    </a:lnTo>
                    <a:lnTo>
                      <a:pt x="314" y="496"/>
                    </a:lnTo>
                    <a:lnTo>
                      <a:pt x="338" y="492"/>
                    </a:lnTo>
                    <a:lnTo>
                      <a:pt x="364" y="490"/>
                    </a:lnTo>
                    <a:lnTo>
                      <a:pt x="386" y="484"/>
                    </a:lnTo>
                    <a:lnTo>
                      <a:pt x="410" y="478"/>
                    </a:lnTo>
                    <a:lnTo>
                      <a:pt x="434" y="470"/>
                    </a:lnTo>
                    <a:lnTo>
                      <a:pt x="456" y="460"/>
                    </a:lnTo>
                    <a:lnTo>
                      <a:pt x="476" y="450"/>
                    </a:lnTo>
                    <a:lnTo>
                      <a:pt x="498" y="438"/>
                    </a:lnTo>
                    <a:lnTo>
                      <a:pt x="518" y="424"/>
                    </a:lnTo>
                    <a:lnTo>
                      <a:pt x="536" y="410"/>
                    </a:lnTo>
                    <a:lnTo>
                      <a:pt x="554" y="396"/>
                    </a:lnTo>
                    <a:lnTo>
                      <a:pt x="570" y="380"/>
                    </a:lnTo>
                    <a:lnTo>
                      <a:pt x="584" y="362"/>
                    </a:lnTo>
                    <a:lnTo>
                      <a:pt x="598" y="344"/>
                    </a:lnTo>
                    <a:lnTo>
                      <a:pt x="610" y="324"/>
                    </a:lnTo>
                    <a:lnTo>
                      <a:pt x="620" y="304"/>
                    </a:lnTo>
                    <a:lnTo>
                      <a:pt x="628" y="284"/>
                    </a:lnTo>
                    <a:lnTo>
                      <a:pt x="634" y="262"/>
                    </a:lnTo>
                    <a:lnTo>
                      <a:pt x="634" y="262"/>
                    </a:lnTo>
                    <a:lnTo>
                      <a:pt x="650" y="260"/>
                    </a:lnTo>
                    <a:lnTo>
                      <a:pt x="664" y="258"/>
                    </a:lnTo>
                    <a:lnTo>
                      <a:pt x="676" y="256"/>
                    </a:lnTo>
                    <a:lnTo>
                      <a:pt x="688" y="252"/>
                    </a:lnTo>
                    <a:lnTo>
                      <a:pt x="698" y="246"/>
                    </a:lnTo>
                    <a:lnTo>
                      <a:pt x="706" y="242"/>
                    </a:lnTo>
                    <a:lnTo>
                      <a:pt x="720" y="228"/>
                    </a:lnTo>
                    <a:lnTo>
                      <a:pt x="720" y="228"/>
                    </a:lnTo>
                    <a:lnTo>
                      <a:pt x="700" y="230"/>
                    </a:lnTo>
                    <a:lnTo>
                      <a:pt x="678" y="230"/>
                    </a:lnTo>
                    <a:lnTo>
                      <a:pt x="656" y="226"/>
                    </a:lnTo>
                    <a:lnTo>
                      <a:pt x="638" y="220"/>
                    </a:lnTo>
                    <a:lnTo>
                      <a:pt x="638" y="22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4" name="Group 83"/>
            <p:cNvGrpSpPr/>
            <p:nvPr/>
          </p:nvGrpSpPr>
          <p:grpSpPr>
            <a:xfrm>
              <a:off x="9357564" y="5048697"/>
              <a:ext cx="571116" cy="571112"/>
              <a:chOff x="10309320" y="4780636"/>
              <a:chExt cx="279044" cy="279044"/>
            </a:xfrm>
          </p:grpSpPr>
          <p:sp>
            <p:nvSpPr>
              <p:cNvPr id="88" name="Oval 87"/>
              <p:cNvSpPr/>
              <p:nvPr userDrawn="1"/>
            </p:nvSpPr>
            <p:spPr>
              <a:xfrm>
                <a:off x="10309320" y="4780636"/>
                <a:ext cx="279044" cy="2790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9" name="Freeform 626"/>
              <p:cNvSpPr>
                <a:spLocks noEditPoints="1"/>
              </p:cNvSpPr>
              <p:nvPr userDrawn="1"/>
            </p:nvSpPr>
            <p:spPr bwMode="auto">
              <a:xfrm>
                <a:off x="10377033" y="4848291"/>
                <a:ext cx="143618" cy="143734"/>
              </a:xfrm>
              <a:custGeom>
                <a:avLst/>
                <a:gdLst>
                  <a:gd name="T0" fmla="*/ 766 w 2492"/>
                  <a:gd name="T1" fmla="*/ 2115 h 2494"/>
                  <a:gd name="T2" fmla="*/ 1669 w 2492"/>
                  <a:gd name="T3" fmla="*/ 932 h 2494"/>
                  <a:gd name="T4" fmla="*/ 1524 w 2492"/>
                  <a:gd name="T5" fmla="*/ 957 h 2494"/>
                  <a:gd name="T6" fmla="*/ 1402 w 2492"/>
                  <a:gd name="T7" fmla="*/ 1045 h 2494"/>
                  <a:gd name="T8" fmla="*/ 1362 w 2492"/>
                  <a:gd name="T9" fmla="*/ 1094 h 2494"/>
                  <a:gd name="T10" fmla="*/ 1349 w 2492"/>
                  <a:gd name="T11" fmla="*/ 1104 h 2494"/>
                  <a:gd name="T12" fmla="*/ 1344 w 2492"/>
                  <a:gd name="T13" fmla="*/ 1005 h 2494"/>
                  <a:gd name="T14" fmla="*/ 953 w 2492"/>
                  <a:gd name="T15" fmla="*/ 2115 h 2494"/>
                  <a:gd name="T16" fmla="*/ 1346 w 2492"/>
                  <a:gd name="T17" fmla="*/ 2050 h 2494"/>
                  <a:gd name="T18" fmla="*/ 1351 w 2492"/>
                  <a:gd name="T19" fmla="*/ 1442 h 2494"/>
                  <a:gd name="T20" fmla="*/ 1381 w 2492"/>
                  <a:gd name="T21" fmla="*/ 1333 h 2494"/>
                  <a:gd name="T22" fmla="*/ 1451 w 2492"/>
                  <a:gd name="T23" fmla="*/ 1255 h 2494"/>
                  <a:gd name="T24" fmla="*/ 1551 w 2492"/>
                  <a:gd name="T25" fmla="*/ 1232 h 2494"/>
                  <a:gd name="T26" fmla="*/ 1648 w 2492"/>
                  <a:gd name="T27" fmla="*/ 1264 h 2494"/>
                  <a:gd name="T28" fmla="*/ 1704 w 2492"/>
                  <a:gd name="T29" fmla="*/ 1353 h 2494"/>
                  <a:gd name="T30" fmla="*/ 1719 w 2492"/>
                  <a:gd name="T31" fmla="*/ 1516 h 2494"/>
                  <a:gd name="T32" fmla="*/ 2110 w 2492"/>
                  <a:gd name="T33" fmla="*/ 2115 h 2494"/>
                  <a:gd name="T34" fmla="*/ 2113 w 2492"/>
                  <a:gd name="T35" fmla="*/ 1761 h 2494"/>
                  <a:gd name="T36" fmla="*/ 2099 w 2492"/>
                  <a:gd name="T37" fmla="*/ 1312 h 2494"/>
                  <a:gd name="T38" fmla="*/ 2052 w 2492"/>
                  <a:gd name="T39" fmla="*/ 1147 h 2494"/>
                  <a:gd name="T40" fmla="*/ 1963 w 2492"/>
                  <a:gd name="T41" fmla="*/ 1029 h 2494"/>
                  <a:gd name="T42" fmla="*/ 1829 w 2492"/>
                  <a:gd name="T43" fmla="*/ 956 h 2494"/>
                  <a:gd name="T44" fmla="*/ 1669 w 2492"/>
                  <a:gd name="T45" fmla="*/ 932 h 2494"/>
                  <a:gd name="T46" fmla="*/ 483 w 2492"/>
                  <a:gd name="T47" fmla="*/ 426 h 2494"/>
                  <a:gd name="T48" fmla="*/ 391 w 2492"/>
                  <a:gd name="T49" fmla="*/ 496 h 2494"/>
                  <a:gd name="T50" fmla="*/ 356 w 2492"/>
                  <a:gd name="T51" fmla="*/ 610 h 2494"/>
                  <a:gd name="T52" fmla="*/ 391 w 2492"/>
                  <a:gd name="T53" fmla="*/ 722 h 2494"/>
                  <a:gd name="T54" fmla="*/ 481 w 2492"/>
                  <a:gd name="T55" fmla="*/ 792 h 2494"/>
                  <a:gd name="T56" fmla="*/ 610 w 2492"/>
                  <a:gd name="T57" fmla="*/ 803 h 2494"/>
                  <a:gd name="T58" fmla="*/ 718 w 2492"/>
                  <a:gd name="T59" fmla="*/ 752 h 2494"/>
                  <a:gd name="T60" fmla="*/ 775 w 2492"/>
                  <a:gd name="T61" fmla="*/ 652 h 2494"/>
                  <a:gd name="T62" fmla="*/ 764 w 2492"/>
                  <a:gd name="T63" fmla="*/ 531 h 2494"/>
                  <a:gd name="T64" fmla="*/ 690 w 2492"/>
                  <a:gd name="T65" fmla="*/ 443 h 2494"/>
                  <a:gd name="T66" fmla="*/ 569 w 2492"/>
                  <a:gd name="T67" fmla="*/ 412 h 2494"/>
                  <a:gd name="T68" fmla="*/ 2071 w 2492"/>
                  <a:gd name="T69" fmla="*/ 3 h 2494"/>
                  <a:gd name="T70" fmla="*/ 2144 w 2492"/>
                  <a:gd name="T71" fmla="*/ 20 h 2494"/>
                  <a:gd name="T72" fmla="*/ 2296 w 2492"/>
                  <a:gd name="T73" fmla="*/ 90 h 2494"/>
                  <a:gd name="T74" fmla="*/ 2409 w 2492"/>
                  <a:gd name="T75" fmla="*/ 211 h 2494"/>
                  <a:gd name="T76" fmla="*/ 2468 w 2492"/>
                  <a:gd name="T77" fmla="*/ 345 h 2494"/>
                  <a:gd name="T78" fmla="*/ 2492 w 2492"/>
                  <a:gd name="T79" fmla="*/ 2064 h 2494"/>
                  <a:gd name="T80" fmla="*/ 2482 w 2492"/>
                  <a:gd name="T81" fmla="*/ 2087 h 2494"/>
                  <a:gd name="T82" fmla="*/ 2430 w 2492"/>
                  <a:gd name="T83" fmla="*/ 2252 h 2494"/>
                  <a:gd name="T84" fmla="*/ 2326 w 2492"/>
                  <a:gd name="T85" fmla="*/ 2379 h 2494"/>
                  <a:gd name="T86" fmla="*/ 2188 w 2492"/>
                  <a:gd name="T87" fmla="*/ 2457 h 2494"/>
                  <a:gd name="T88" fmla="*/ 2063 w 2492"/>
                  <a:gd name="T89" fmla="*/ 2494 h 2494"/>
                  <a:gd name="T90" fmla="*/ 413 w 2492"/>
                  <a:gd name="T91" fmla="*/ 2488 h 2494"/>
                  <a:gd name="T92" fmla="*/ 292 w 2492"/>
                  <a:gd name="T93" fmla="*/ 2456 h 2494"/>
                  <a:gd name="T94" fmla="*/ 153 w 2492"/>
                  <a:gd name="T95" fmla="*/ 2368 h 2494"/>
                  <a:gd name="T96" fmla="*/ 52 w 2492"/>
                  <a:gd name="T97" fmla="*/ 2230 h 2494"/>
                  <a:gd name="T98" fmla="*/ 11 w 2492"/>
                  <a:gd name="T99" fmla="*/ 2107 h 2494"/>
                  <a:gd name="T100" fmla="*/ 3 w 2492"/>
                  <a:gd name="T101" fmla="*/ 421 h 2494"/>
                  <a:gd name="T102" fmla="*/ 19 w 2492"/>
                  <a:gd name="T103" fmla="*/ 348 h 2494"/>
                  <a:gd name="T104" fmla="*/ 89 w 2492"/>
                  <a:gd name="T105" fmla="*/ 195 h 2494"/>
                  <a:gd name="T106" fmla="*/ 211 w 2492"/>
                  <a:gd name="T107" fmla="*/ 81 h 2494"/>
                  <a:gd name="T108" fmla="*/ 345 w 2492"/>
                  <a:gd name="T109" fmla="*/ 23 h 2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2" h="2494">
                    <a:moveTo>
                      <a:pt x="383" y="959"/>
                    </a:moveTo>
                    <a:lnTo>
                      <a:pt x="383" y="2115"/>
                    </a:lnTo>
                    <a:lnTo>
                      <a:pt x="766" y="2115"/>
                    </a:lnTo>
                    <a:lnTo>
                      <a:pt x="766" y="959"/>
                    </a:lnTo>
                    <a:lnTo>
                      <a:pt x="383" y="959"/>
                    </a:lnTo>
                    <a:close/>
                    <a:moveTo>
                      <a:pt x="1669" y="932"/>
                    </a:moveTo>
                    <a:lnTo>
                      <a:pt x="1619" y="935"/>
                    </a:lnTo>
                    <a:lnTo>
                      <a:pt x="1570" y="943"/>
                    </a:lnTo>
                    <a:lnTo>
                      <a:pt x="1524" y="957"/>
                    </a:lnTo>
                    <a:lnTo>
                      <a:pt x="1481" y="980"/>
                    </a:lnTo>
                    <a:lnTo>
                      <a:pt x="1440" y="1008"/>
                    </a:lnTo>
                    <a:lnTo>
                      <a:pt x="1402" y="1045"/>
                    </a:lnTo>
                    <a:lnTo>
                      <a:pt x="1367" y="1089"/>
                    </a:lnTo>
                    <a:lnTo>
                      <a:pt x="1363" y="1091"/>
                    </a:lnTo>
                    <a:lnTo>
                      <a:pt x="1362" y="1094"/>
                    </a:lnTo>
                    <a:lnTo>
                      <a:pt x="1359" y="1096"/>
                    </a:lnTo>
                    <a:lnTo>
                      <a:pt x="1355" y="1100"/>
                    </a:lnTo>
                    <a:lnTo>
                      <a:pt x="1349" y="1104"/>
                    </a:lnTo>
                    <a:lnTo>
                      <a:pt x="1344" y="1110"/>
                    </a:lnTo>
                    <a:lnTo>
                      <a:pt x="1344" y="1056"/>
                    </a:lnTo>
                    <a:lnTo>
                      <a:pt x="1344" y="1005"/>
                    </a:lnTo>
                    <a:lnTo>
                      <a:pt x="1344" y="959"/>
                    </a:lnTo>
                    <a:lnTo>
                      <a:pt x="953" y="959"/>
                    </a:lnTo>
                    <a:lnTo>
                      <a:pt x="953" y="2115"/>
                    </a:lnTo>
                    <a:lnTo>
                      <a:pt x="1346" y="2115"/>
                    </a:lnTo>
                    <a:lnTo>
                      <a:pt x="1346" y="2080"/>
                    </a:lnTo>
                    <a:lnTo>
                      <a:pt x="1346" y="2050"/>
                    </a:lnTo>
                    <a:lnTo>
                      <a:pt x="1346" y="1765"/>
                    </a:lnTo>
                    <a:lnTo>
                      <a:pt x="1348" y="1481"/>
                    </a:lnTo>
                    <a:lnTo>
                      <a:pt x="1351" y="1442"/>
                    </a:lnTo>
                    <a:lnTo>
                      <a:pt x="1357" y="1404"/>
                    </a:lnTo>
                    <a:lnTo>
                      <a:pt x="1367" y="1368"/>
                    </a:lnTo>
                    <a:lnTo>
                      <a:pt x="1381" y="1333"/>
                    </a:lnTo>
                    <a:lnTo>
                      <a:pt x="1400" y="1301"/>
                    </a:lnTo>
                    <a:lnTo>
                      <a:pt x="1424" y="1275"/>
                    </a:lnTo>
                    <a:lnTo>
                      <a:pt x="1451" y="1255"/>
                    </a:lnTo>
                    <a:lnTo>
                      <a:pt x="1481" y="1242"/>
                    </a:lnTo>
                    <a:lnTo>
                      <a:pt x="1514" y="1234"/>
                    </a:lnTo>
                    <a:lnTo>
                      <a:pt x="1551" y="1232"/>
                    </a:lnTo>
                    <a:lnTo>
                      <a:pt x="1589" y="1237"/>
                    </a:lnTo>
                    <a:lnTo>
                      <a:pt x="1621" y="1247"/>
                    </a:lnTo>
                    <a:lnTo>
                      <a:pt x="1648" y="1264"/>
                    </a:lnTo>
                    <a:lnTo>
                      <a:pt x="1672" y="1288"/>
                    </a:lnTo>
                    <a:lnTo>
                      <a:pt x="1689" y="1317"/>
                    </a:lnTo>
                    <a:lnTo>
                      <a:pt x="1704" y="1353"/>
                    </a:lnTo>
                    <a:lnTo>
                      <a:pt x="1711" y="1395"/>
                    </a:lnTo>
                    <a:lnTo>
                      <a:pt x="1718" y="1455"/>
                    </a:lnTo>
                    <a:lnTo>
                      <a:pt x="1719" y="1516"/>
                    </a:lnTo>
                    <a:lnTo>
                      <a:pt x="1721" y="2061"/>
                    </a:lnTo>
                    <a:lnTo>
                      <a:pt x="1721" y="2115"/>
                    </a:lnTo>
                    <a:lnTo>
                      <a:pt x="2110" y="2115"/>
                    </a:lnTo>
                    <a:lnTo>
                      <a:pt x="2112" y="2096"/>
                    </a:lnTo>
                    <a:lnTo>
                      <a:pt x="2112" y="2079"/>
                    </a:lnTo>
                    <a:lnTo>
                      <a:pt x="2113" y="1761"/>
                    </a:lnTo>
                    <a:lnTo>
                      <a:pt x="2112" y="1441"/>
                    </a:lnTo>
                    <a:lnTo>
                      <a:pt x="2109" y="1377"/>
                    </a:lnTo>
                    <a:lnTo>
                      <a:pt x="2099" y="1312"/>
                    </a:lnTo>
                    <a:lnTo>
                      <a:pt x="2086" y="1250"/>
                    </a:lnTo>
                    <a:lnTo>
                      <a:pt x="2072" y="1196"/>
                    </a:lnTo>
                    <a:lnTo>
                      <a:pt x="2052" y="1147"/>
                    </a:lnTo>
                    <a:lnTo>
                      <a:pt x="2026" y="1102"/>
                    </a:lnTo>
                    <a:lnTo>
                      <a:pt x="1996" y="1062"/>
                    </a:lnTo>
                    <a:lnTo>
                      <a:pt x="1963" y="1029"/>
                    </a:lnTo>
                    <a:lnTo>
                      <a:pt x="1923" y="999"/>
                    </a:lnTo>
                    <a:lnTo>
                      <a:pt x="1878" y="975"/>
                    </a:lnTo>
                    <a:lnTo>
                      <a:pt x="1829" y="956"/>
                    </a:lnTo>
                    <a:lnTo>
                      <a:pt x="1773" y="943"/>
                    </a:lnTo>
                    <a:lnTo>
                      <a:pt x="1721" y="935"/>
                    </a:lnTo>
                    <a:lnTo>
                      <a:pt x="1669" y="932"/>
                    </a:lnTo>
                    <a:close/>
                    <a:moveTo>
                      <a:pt x="569" y="412"/>
                    </a:moveTo>
                    <a:lnTo>
                      <a:pt x="524" y="415"/>
                    </a:lnTo>
                    <a:lnTo>
                      <a:pt x="483" y="426"/>
                    </a:lnTo>
                    <a:lnTo>
                      <a:pt x="447" y="443"/>
                    </a:lnTo>
                    <a:lnTo>
                      <a:pt x="416" y="467"/>
                    </a:lnTo>
                    <a:lnTo>
                      <a:pt x="391" y="496"/>
                    </a:lnTo>
                    <a:lnTo>
                      <a:pt x="372" y="531"/>
                    </a:lnTo>
                    <a:lnTo>
                      <a:pt x="361" y="569"/>
                    </a:lnTo>
                    <a:lnTo>
                      <a:pt x="356" y="610"/>
                    </a:lnTo>
                    <a:lnTo>
                      <a:pt x="361" y="652"/>
                    </a:lnTo>
                    <a:lnTo>
                      <a:pt x="372" y="688"/>
                    </a:lnTo>
                    <a:lnTo>
                      <a:pt x="391" y="722"/>
                    </a:lnTo>
                    <a:lnTo>
                      <a:pt x="415" y="750"/>
                    </a:lnTo>
                    <a:lnTo>
                      <a:pt x="447" y="774"/>
                    </a:lnTo>
                    <a:lnTo>
                      <a:pt x="481" y="792"/>
                    </a:lnTo>
                    <a:lnTo>
                      <a:pt x="521" y="803"/>
                    </a:lnTo>
                    <a:lnTo>
                      <a:pt x="566" y="808"/>
                    </a:lnTo>
                    <a:lnTo>
                      <a:pt x="610" y="803"/>
                    </a:lnTo>
                    <a:lnTo>
                      <a:pt x="652" y="793"/>
                    </a:lnTo>
                    <a:lnTo>
                      <a:pt x="688" y="776"/>
                    </a:lnTo>
                    <a:lnTo>
                      <a:pt x="718" y="752"/>
                    </a:lnTo>
                    <a:lnTo>
                      <a:pt x="745" y="723"/>
                    </a:lnTo>
                    <a:lnTo>
                      <a:pt x="764" y="690"/>
                    </a:lnTo>
                    <a:lnTo>
                      <a:pt x="775" y="652"/>
                    </a:lnTo>
                    <a:lnTo>
                      <a:pt x="780" y="610"/>
                    </a:lnTo>
                    <a:lnTo>
                      <a:pt x="775" y="569"/>
                    </a:lnTo>
                    <a:lnTo>
                      <a:pt x="764" y="531"/>
                    </a:lnTo>
                    <a:lnTo>
                      <a:pt x="745" y="496"/>
                    </a:lnTo>
                    <a:lnTo>
                      <a:pt x="721" y="467"/>
                    </a:lnTo>
                    <a:lnTo>
                      <a:pt x="690" y="443"/>
                    </a:lnTo>
                    <a:lnTo>
                      <a:pt x="653" y="426"/>
                    </a:lnTo>
                    <a:lnTo>
                      <a:pt x="613" y="415"/>
                    </a:lnTo>
                    <a:lnTo>
                      <a:pt x="569" y="412"/>
                    </a:lnTo>
                    <a:close/>
                    <a:moveTo>
                      <a:pt x="427" y="0"/>
                    </a:moveTo>
                    <a:lnTo>
                      <a:pt x="2063" y="0"/>
                    </a:lnTo>
                    <a:lnTo>
                      <a:pt x="2071" y="3"/>
                    </a:lnTo>
                    <a:lnTo>
                      <a:pt x="2077" y="6"/>
                    </a:lnTo>
                    <a:lnTo>
                      <a:pt x="2085" y="9"/>
                    </a:lnTo>
                    <a:lnTo>
                      <a:pt x="2144" y="20"/>
                    </a:lnTo>
                    <a:lnTo>
                      <a:pt x="2199" y="38"/>
                    </a:lnTo>
                    <a:lnTo>
                      <a:pt x="2250" y="60"/>
                    </a:lnTo>
                    <a:lnTo>
                      <a:pt x="2296" y="90"/>
                    </a:lnTo>
                    <a:lnTo>
                      <a:pt x="2338" y="125"/>
                    </a:lnTo>
                    <a:lnTo>
                      <a:pt x="2376" y="165"/>
                    </a:lnTo>
                    <a:lnTo>
                      <a:pt x="2409" y="211"/>
                    </a:lnTo>
                    <a:lnTo>
                      <a:pt x="2439" y="264"/>
                    </a:lnTo>
                    <a:lnTo>
                      <a:pt x="2455" y="303"/>
                    </a:lnTo>
                    <a:lnTo>
                      <a:pt x="2468" y="345"/>
                    </a:lnTo>
                    <a:lnTo>
                      <a:pt x="2479" y="386"/>
                    </a:lnTo>
                    <a:lnTo>
                      <a:pt x="2492" y="429"/>
                    </a:lnTo>
                    <a:lnTo>
                      <a:pt x="2492" y="2064"/>
                    </a:lnTo>
                    <a:lnTo>
                      <a:pt x="2487" y="2072"/>
                    </a:lnTo>
                    <a:lnTo>
                      <a:pt x="2485" y="2080"/>
                    </a:lnTo>
                    <a:lnTo>
                      <a:pt x="2482" y="2087"/>
                    </a:lnTo>
                    <a:lnTo>
                      <a:pt x="2471" y="2146"/>
                    </a:lnTo>
                    <a:lnTo>
                      <a:pt x="2454" y="2201"/>
                    </a:lnTo>
                    <a:lnTo>
                      <a:pt x="2430" y="2252"/>
                    </a:lnTo>
                    <a:lnTo>
                      <a:pt x="2401" y="2298"/>
                    </a:lnTo>
                    <a:lnTo>
                      <a:pt x="2366" y="2341"/>
                    </a:lnTo>
                    <a:lnTo>
                      <a:pt x="2326" y="2379"/>
                    </a:lnTo>
                    <a:lnTo>
                      <a:pt x="2279" y="2413"/>
                    </a:lnTo>
                    <a:lnTo>
                      <a:pt x="2228" y="2442"/>
                    </a:lnTo>
                    <a:lnTo>
                      <a:pt x="2188" y="2457"/>
                    </a:lnTo>
                    <a:lnTo>
                      <a:pt x="2147" y="2470"/>
                    </a:lnTo>
                    <a:lnTo>
                      <a:pt x="2104" y="2481"/>
                    </a:lnTo>
                    <a:lnTo>
                      <a:pt x="2063" y="2494"/>
                    </a:lnTo>
                    <a:lnTo>
                      <a:pt x="427" y="2494"/>
                    </a:lnTo>
                    <a:lnTo>
                      <a:pt x="421" y="2491"/>
                    </a:lnTo>
                    <a:lnTo>
                      <a:pt x="413" y="2488"/>
                    </a:lnTo>
                    <a:lnTo>
                      <a:pt x="405" y="2486"/>
                    </a:lnTo>
                    <a:lnTo>
                      <a:pt x="346" y="2473"/>
                    </a:lnTo>
                    <a:lnTo>
                      <a:pt x="292" y="2456"/>
                    </a:lnTo>
                    <a:lnTo>
                      <a:pt x="242" y="2434"/>
                    </a:lnTo>
                    <a:lnTo>
                      <a:pt x="195" y="2403"/>
                    </a:lnTo>
                    <a:lnTo>
                      <a:pt x="153" y="2368"/>
                    </a:lnTo>
                    <a:lnTo>
                      <a:pt x="114" y="2329"/>
                    </a:lnTo>
                    <a:lnTo>
                      <a:pt x="81" y="2282"/>
                    </a:lnTo>
                    <a:lnTo>
                      <a:pt x="52" y="2230"/>
                    </a:lnTo>
                    <a:lnTo>
                      <a:pt x="35" y="2190"/>
                    </a:lnTo>
                    <a:lnTo>
                      <a:pt x="22" y="2149"/>
                    </a:lnTo>
                    <a:lnTo>
                      <a:pt x="11" y="2107"/>
                    </a:lnTo>
                    <a:lnTo>
                      <a:pt x="0" y="2064"/>
                    </a:lnTo>
                    <a:lnTo>
                      <a:pt x="0" y="429"/>
                    </a:lnTo>
                    <a:lnTo>
                      <a:pt x="3" y="421"/>
                    </a:lnTo>
                    <a:lnTo>
                      <a:pt x="6" y="413"/>
                    </a:lnTo>
                    <a:lnTo>
                      <a:pt x="8" y="407"/>
                    </a:lnTo>
                    <a:lnTo>
                      <a:pt x="19" y="348"/>
                    </a:lnTo>
                    <a:lnTo>
                      <a:pt x="37" y="292"/>
                    </a:lnTo>
                    <a:lnTo>
                      <a:pt x="60" y="241"/>
                    </a:lnTo>
                    <a:lnTo>
                      <a:pt x="89" y="195"/>
                    </a:lnTo>
                    <a:lnTo>
                      <a:pt x="124" y="152"/>
                    </a:lnTo>
                    <a:lnTo>
                      <a:pt x="165" y="114"/>
                    </a:lnTo>
                    <a:lnTo>
                      <a:pt x="211" y="81"/>
                    </a:lnTo>
                    <a:lnTo>
                      <a:pt x="264" y="52"/>
                    </a:lnTo>
                    <a:lnTo>
                      <a:pt x="304" y="36"/>
                    </a:lnTo>
                    <a:lnTo>
                      <a:pt x="345" y="23"/>
                    </a:lnTo>
                    <a:lnTo>
                      <a:pt x="386" y="12"/>
                    </a:lnTo>
                    <a:lnTo>
                      <a:pt x="427"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nvGrpSpPr>
            <p:cNvPr id="85" name="Group 84"/>
            <p:cNvGrpSpPr/>
            <p:nvPr userDrawn="1"/>
          </p:nvGrpSpPr>
          <p:grpSpPr>
            <a:xfrm>
              <a:off x="8620286" y="5048697"/>
              <a:ext cx="571116" cy="571112"/>
              <a:chOff x="8081746" y="5155194"/>
              <a:chExt cx="358117" cy="358117"/>
            </a:xfrm>
          </p:grpSpPr>
          <p:sp>
            <p:nvSpPr>
              <p:cNvPr id="86" name="Oval 85"/>
              <p:cNvSpPr/>
              <p:nvPr userDrawn="1"/>
            </p:nvSpPr>
            <p:spPr>
              <a:xfrm>
                <a:off x="8081746" y="5155194"/>
                <a:ext cx="358117" cy="3581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kern="1200" dirty="0">
                  <a:solidFill>
                    <a:prstClr val="white"/>
                  </a:solidFill>
                  <a:latin typeface="Arial" panose="020B0604020202020204" pitchFamily="34" charset="0"/>
                </a:endParaRPr>
              </a:p>
            </p:txBody>
          </p:sp>
          <p:sp>
            <p:nvSpPr>
              <p:cNvPr id="87" name="Freeform 86"/>
              <p:cNvSpPr>
                <a:spLocks noEditPoints="1"/>
              </p:cNvSpPr>
              <p:nvPr userDrawn="1"/>
            </p:nvSpPr>
            <p:spPr bwMode="auto">
              <a:xfrm>
                <a:off x="8171870" y="5243997"/>
                <a:ext cx="177867" cy="180512"/>
              </a:xfrm>
              <a:custGeom>
                <a:avLst/>
                <a:gdLst>
                  <a:gd name="T0" fmla="*/ 898 w 3629"/>
                  <a:gd name="T1" fmla="*/ 2249 h 3684"/>
                  <a:gd name="T2" fmla="*/ 767 w 3629"/>
                  <a:gd name="T3" fmla="*/ 2423 h 3684"/>
                  <a:gd name="T4" fmla="*/ 784 w 3629"/>
                  <a:gd name="T5" fmla="*/ 2649 h 3684"/>
                  <a:gd name="T6" fmla="*/ 936 w 3629"/>
                  <a:gd name="T7" fmla="*/ 2802 h 3684"/>
                  <a:gd name="T8" fmla="*/ 2596 w 3629"/>
                  <a:gd name="T9" fmla="*/ 2828 h 3684"/>
                  <a:gd name="T10" fmla="*/ 2787 w 3629"/>
                  <a:gd name="T11" fmla="*/ 2722 h 3684"/>
                  <a:gd name="T12" fmla="*/ 2865 w 3629"/>
                  <a:gd name="T13" fmla="*/ 2515 h 3684"/>
                  <a:gd name="T14" fmla="*/ 2787 w 3629"/>
                  <a:gd name="T15" fmla="*/ 2307 h 3684"/>
                  <a:gd name="T16" fmla="*/ 2596 w 3629"/>
                  <a:gd name="T17" fmla="*/ 2201 h 3684"/>
                  <a:gd name="T18" fmla="*/ 1112 w 3629"/>
                  <a:gd name="T19" fmla="*/ 750 h 3684"/>
                  <a:gd name="T20" fmla="*/ 918 w 3629"/>
                  <a:gd name="T21" fmla="*/ 853 h 3684"/>
                  <a:gd name="T22" fmla="*/ 838 w 3629"/>
                  <a:gd name="T23" fmla="*/ 1059 h 3684"/>
                  <a:gd name="T24" fmla="*/ 913 w 3629"/>
                  <a:gd name="T25" fmla="*/ 1268 h 3684"/>
                  <a:gd name="T26" fmla="*/ 1102 w 3629"/>
                  <a:gd name="T27" fmla="*/ 1377 h 3684"/>
                  <a:gd name="T28" fmla="*/ 1208 w 3629"/>
                  <a:gd name="T29" fmla="*/ 1380 h 3684"/>
                  <a:gd name="T30" fmla="*/ 1401 w 3629"/>
                  <a:gd name="T31" fmla="*/ 1380 h 3684"/>
                  <a:gd name="T32" fmla="*/ 1640 w 3629"/>
                  <a:gd name="T33" fmla="*/ 1380 h 3684"/>
                  <a:gd name="T34" fmla="*/ 1833 w 3629"/>
                  <a:gd name="T35" fmla="*/ 1380 h 3684"/>
                  <a:gd name="T36" fmla="*/ 1935 w 3629"/>
                  <a:gd name="T37" fmla="*/ 1378 h 3684"/>
                  <a:gd name="T38" fmla="*/ 2115 w 3629"/>
                  <a:gd name="T39" fmla="*/ 1295 h 3684"/>
                  <a:gd name="T40" fmla="*/ 2205 w 3629"/>
                  <a:gd name="T41" fmla="*/ 1123 h 3684"/>
                  <a:gd name="T42" fmla="*/ 2168 w 3629"/>
                  <a:gd name="T43" fmla="*/ 917 h 3684"/>
                  <a:gd name="T44" fmla="*/ 2021 w 3629"/>
                  <a:gd name="T45" fmla="*/ 775 h 3684"/>
                  <a:gd name="T46" fmla="*/ 1954 w 3629"/>
                  <a:gd name="T47" fmla="*/ 0 h 3684"/>
                  <a:gd name="T48" fmla="*/ 2281 w 3629"/>
                  <a:gd name="T49" fmla="*/ 54 h 3684"/>
                  <a:gd name="T50" fmla="*/ 2608 w 3629"/>
                  <a:gd name="T51" fmla="*/ 232 h 3684"/>
                  <a:gd name="T52" fmla="*/ 2834 w 3629"/>
                  <a:gd name="T53" fmla="*/ 513 h 3684"/>
                  <a:gd name="T54" fmla="*/ 2936 w 3629"/>
                  <a:gd name="T55" fmla="*/ 880 h 3684"/>
                  <a:gd name="T56" fmla="*/ 2938 w 3629"/>
                  <a:gd name="T57" fmla="*/ 1273 h 3684"/>
                  <a:gd name="T58" fmla="*/ 3050 w 3629"/>
                  <a:gd name="T59" fmla="*/ 1427 h 3684"/>
                  <a:gd name="T60" fmla="*/ 3285 w 3629"/>
                  <a:gd name="T61" fmla="*/ 1490 h 3684"/>
                  <a:gd name="T62" fmla="*/ 3490 w 3629"/>
                  <a:gd name="T63" fmla="*/ 1652 h 3684"/>
                  <a:gd name="T64" fmla="*/ 3603 w 3629"/>
                  <a:gd name="T65" fmla="*/ 1910 h 3684"/>
                  <a:gd name="T66" fmla="*/ 3627 w 3629"/>
                  <a:gd name="T67" fmla="*/ 2225 h 3684"/>
                  <a:gd name="T68" fmla="*/ 3628 w 3629"/>
                  <a:gd name="T69" fmla="*/ 2393 h 3684"/>
                  <a:gd name="T70" fmla="*/ 3629 w 3629"/>
                  <a:gd name="T71" fmla="*/ 2493 h 3684"/>
                  <a:gd name="T72" fmla="*/ 3583 w 3629"/>
                  <a:gd name="T73" fmla="*/ 2861 h 3684"/>
                  <a:gd name="T74" fmla="*/ 3414 w 3629"/>
                  <a:gd name="T75" fmla="*/ 3236 h 3684"/>
                  <a:gd name="T76" fmla="*/ 3129 w 3629"/>
                  <a:gd name="T77" fmla="*/ 3508 h 3684"/>
                  <a:gd name="T78" fmla="*/ 2749 w 3629"/>
                  <a:gd name="T79" fmla="*/ 3657 h 3684"/>
                  <a:gd name="T80" fmla="*/ 1134 w 3629"/>
                  <a:gd name="T81" fmla="*/ 3684 h 3684"/>
                  <a:gd name="T82" fmla="*/ 705 w 3629"/>
                  <a:gd name="T83" fmla="*/ 3629 h 3684"/>
                  <a:gd name="T84" fmla="*/ 370 w 3629"/>
                  <a:gd name="T85" fmla="*/ 3462 h 3684"/>
                  <a:gd name="T86" fmla="*/ 138 w 3629"/>
                  <a:gd name="T87" fmla="*/ 3191 h 3684"/>
                  <a:gd name="T88" fmla="*/ 24 w 3629"/>
                  <a:gd name="T89" fmla="*/ 2830 h 3684"/>
                  <a:gd name="T90" fmla="*/ 0 w 3629"/>
                  <a:gd name="T91" fmla="*/ 2426 h 3684"/>
                  <a:gd name="T92" fmla="*/ 28 w 3629"/>
                  <a:gd name="T93" fmla="*/ 780 h 3684"/>
                  <a:gd name="T94" fmla="*/ 131 w 3629"/>
                  <a:gd name="T95" fmla="*/ 512 h 3684"/>
                  <a:gd name="T96" fmla="*/ 262 w 3629"/>
                  <a:gd name="T97" fmla="*/ 328 h 3684"/>
                  <a:gd name="T98" fmla="*/ 524 w 3629"/>
                  <a:gd name="T99" fmla="*/ 122 h 3684"/>
                  <a:gd name="T100" fmla="*/ 902 w 3629"/>
                  <a:gd name="T101" fmla="*/ 11 h 3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29" h="3684">
                    <a:moveTo>
                      <a:pt x="1070" y="2198"/>
                    </a:moveTo>
                    <a:lnTo>
                      <a:pt x="1024" y="2201"/>
                    </a:lnTo>
                    <a:lnTo>
                      <a:pt x="978" y="2212"/>
                    </a:lnTo>
                    <a:lnTo>
                      <a:pt x="936" y="2228"/>
                    </a:lnTo>
                    <a:lnTo>
                      <a:pt x="898" y="2249"/>
                    </a:lnTo>
                    <a:lnTo>
                      <a:pt x="863" y="2275"/>
                    </a:lnTo>
                    <a:lnTo>
                      <a:pt x="831" y="2307"/>
                    </a:lnTo>
                    <a:lnTo>
                      <a:pt x="805" y="2342"/>
                    </a:lnTo>
                    <a:lnTo>
                      <a:pt x="784" y="2381"/>
                    </a:lnTo>
                    <a:lnTo>
                      <a:pt x="767" y="2423"/>
                    </a:lnTo>
                    <a:lnTo>
                      <a:pt x="758" y="2468"/>
                    </a:lnTo>
                    <a:lnTo>
                      <a:pt x="754" y="2515"/>
                    </a:lnTo>
                    <a:lnTo>
                      <a:pt x="758" y="2561"/>
                    </a:lnTo>
                    <a:lnTo>
                      <a:pt x="767" y="2607"/>
                    </a:lnTo>
                    <a:lnTo>
                      <a:pt x="784" y="2649"/>
                    </a:lnTo>
                    <a:lnTo>
                      <a:pt x="805" y="2687"/>
                    </a:lnTo>
                    <a:lnTo>
                      <a:pt x="831" y="2722"/>
                    </a:lnTo>
                    <a:lnTo>
                      <a:pt x="863" y="2754"/>
                    </a:lnTo>
                    <a:lnTo>
                      <a:pt x="898" y="2780"/>
                    </a:lnTo>
                    <a:lnTo>
                      <a:pt x="936" y="2802"/>
                    </a:lnTo>
                    <a:lnTo>
                      <a:pt x="978" y="2818"/>
                    </a:lnTo>
                    <a:lnTo>
                      <a:pt x="1024" y="2828"/>
                    </a:lnTo>
                    <a:lnTo>
                      <a:pt x="1070" y="2831"/>
                    </a:lnTo>
                    <a:lnTo>
                      <a:pt x="2549" y="2831"/>
                    </a:lnTo>
                    <a:lnTo>
                      <a:pt x="2596" y="2828"/>
                    </a:lnTo>
                    <a:lnTo>
                      <a:pt x="2640" y="2818"/>
                    </a:lnTo>
                    <a:lnTo>
                      <a:pt x="2681" y="2802"/>
                    </a:lnTo>
                    <a:lnTo>
                      <a:pt x="2721" y="2780"/>
                    </a:lnTo>
                    <a:lnTo>
                      <a:pt x="2756" y="2754"/>
                    </a:lnTo>
                    <a:lnTo>
                      <a:pt x="2787" y="2722"/>
                    </a:lnTo>
                    <a:lnTo>
                      <a:pt x="2814" y="2687"/>
                    </a:lnTo>
                    <a:lnTo>
                      <a:pt x="2835" y="2649"/>
                    </a:lnTo>
                    <a:lnTo>
                      <a:pt x="2851" y="2607"/>
                    </a:lnTo>
                    <a:lnTo>
                      <a:pt x="2861" y="2561"/>
                    </a:lnTo>
                    <a:lnTo>
                      <a:pt x="2865" y="2515"/>
                    </a:lnTo>
                    <a:lnTo>
                      <a:pt x="2861" y="2468"/>
                    </a:lnTo>
                    <a:lnTo>
                      <a:pt x="2851" y="2423"/>
                    </a:lnTo>
                    <a:lnTo>
                      <a:pt x="2835" y="2381"/>
                    </a:lnTo>
                    <a:lnTo>
                      <a:pt x="2814" y="2342"/>
                    </a:lnTo>
                    <a:lnTo>
                      <a:pt x="2787" y="2307"/>
                    </a:lnTo>
                    <a:lnTo>
                      <a:pt x="2756" y="2275"/>
                    </a:lnTo>
                    <a:lnTo>
                      <a:pt x="2721" y="2249"/>
                    </a:lnTo>
                    <a:lnTo>
                      <a:pt x="2681" y="2228"/>
                    </a:lnTo>
                    <a:lnTo>
                      <a:pt x="2640" y="2212"/>
                    </a:lnTo>
                    <a:lnTo>
                      <a:pt x="2596" y="2201"/>
                    </a:lnTo>
                    <a:lnTo>
                      <a:pt x="2549" y="2198"/>
                    </a:lnTo>
                    <a:lnTo>
                      <a:pt x="1070" y="2198"/>
                    </a:lnTo>
                    <a:close/>
                    <a:moveTo>
                      <a:pt x="1898" y="746"/>
                    </a:moveTo>
                    <a:lnTo>
                      <a:pt x="1158" y="747"/>
                    </a:lnTo>
                    <a:lnTo>
                      <a:pt x="1112" y="750"/>
                    </a:lnTo>
                    <a:lnTo>
                      <a:pt x="1068" y="759"/>
                    </a:lnTo>
                    <a:lnTo>
                      <a:pt x="1025" y="775"/>
                    </a:lnTo>
                    <a:lnTo>
                      <a:pt x="986" y="796"/>
                    </a:lnTo>
                    <a:lnTo>
                      <a:pt x="950" y="822"/>
                    </a:lnTo>
                    <a:lnTo>
                      <a:pt x="918" y="853"/>
                    </a:lnTo>
                    <a:lnTo>
                      <a:pt x="891" y="888"/>
                    </a:lnTo>
                    <a:lnTo>
                      <a:pt x="870" y="926"/>
                    </a:lnTo>
                    <a:lnTo>
                      <a:pt x="853" y="967"/>
                    </a:lnTo>
                    <a:lnTo>
                      <a:pt x="843" y="1012"/>
                    </a:lnTo>
                    <a:lnTo>
                      <a:pt x="838" y="1059"/>
                    </a:lnTo>
                    <a:lnTo>
                      <a:pt x="840" y="1106"/>
                    </a:lnTo>
                    <a:lnTo>
                      <a:pt x="850" y="1151"/>
                    </a:lnTo>
                    <a:lnTo>
                      <a:pt x="865" y="1193"/>
                    </a:lnTo>
                    <a:lnTo>
                      <a:pt x="887" y="1231"/>
                    </a:lnTo>
                    <a:lnTo>
                      <a:pt x="913" y="1268"/>
                    </a:lnTo>
                    <a:lnTo>
                      <a:pt x="943" y="1300"/>
                    </a:lnTo>
                    <a:lnTo>
                      <a:pt x="977" y="1327"/>
                    </a:lnTo>
                    <a:lnTo>
                      <a:pt x="1016" y="1348"/>
                    </a:lnTo>
                    <a:lnTo>
                      <a:pt x="1057" y="1365"/>
                    </a:lnTo>
                    <a:lnTo>
                      <a:pt x="1102" y="1377"/>
                    </a:lnTo>
                    <a:lnTo>
                      <a:pt x="1149" y="1380"/>
                    </a:lnTo>
                    <a:lnTo>
                      <a:pt x="1152" y="1380"/>
                    </a:lnTo>
                    <a:lnTo>
                      <a:pt x="1165" y="1380"/>
                    </a:lnTo>
                    <a:lnTo>
                      <a:pt x="1183" y="1380"/>
                    </a:lnTo>
                    <a:lnTo>
                      <a:pt x="1208" y="1380"/>
                    </a:lnTo>
                    <a:lnTo>
                      <a:pt x="1238" y="1380"/>
                    </a:lnTo>
                    <a:lnTo>
                      <a:pt x="1273" y="1380"/>
                    </a:lnTo>
                    <a:lnTo>
                      <a:pt x="1313" y="1380"/>
                    </a:lnTo>
                    <a:lnTo>
                      <a:pt x="1356" y="1380"/>
                    </a:lnTo>
                    <a:lnTo>
                      <a:pt x="1401" y="1380"/>
                    </a:lnTo>
                    <a:lnTo>
                      <a:pt x="1448" y="1380"/>
                    </a:lnTo>
                    <a:lnTo>
                      <a:pt x="1496" y="1380"/>
                    </a:lnTo>
                    <a:lnTo>
                      <a:pt x="1545" y="1380"/>
                    </a:lnTo>
                    <a:lnTo>
                      <a:pt x="1592" y="1380"/>
                    </a:lnTo>
                    <a:lnTo>
                      <a:pt x="1640" y="1380"/>
                    </a:lnTo>
                    <a:lnTo>
                      <a:pt x="1685" y="1380"/>
                    </a:lnTo>
                    <a:lnTo>
                      <a:pt x="1728" y="1380"/>
                    </a:lnTo>
                    <a:lnTo>
                      <a:pt x="1767" y="1380"/>
                    </a:lnTo>
                    <a:lnTo>
                      <a:pt x="1803" y="1380"/>
                    </a:lnTo>
                    <a:lnTo>
                      <a:pt x="1833" y="1380"/>
                    </a:lnTo>
                    <a:lnTo>
                      <a:pt x="1858" y="1380"/>
                    </a:lnTo>
                    <a:lnTo>
                      <a:pt x="1877" y="1380"/>
                    </a:lnTo>
                    <a:lnTo>
                      <a:pt x="1889" y="1380"/>
                    </a:lnTo>
                    <a:lnTo>
                      <a:pt x="1893" y="1380"/>
                    </a:lnTo>
                    <a:lnTo>
                      <a:pt x="1935" y="1378"/>
                    </a:lnTo>
                    <a:lnTo>
                      <a:pt x="1976" y="1370"/>
                    </a:lnTo>
                    <a:lnTo>
                      <a:pt x="2014" y="1357"/>
                    </a:lnTo>
                    <a:lnTo>
                      <a:pt x="2050" y="1340"/>
                    </a:lnTo>
                    <a:lnTo>
                      <a:pt x="2084" y="1320"/>
                    </a:lnTo>
                    <a:lnTo>
                      <a:pt x="2115" y="1295"/>
                    </a:lnTo>
                    <a:lnTo>
                      <a:pt x="2141" y="1267"/>
                    </a:lnTo>
                    <a:lnTo>
                      <a:pt x="2164" y="1235"/>
                    </a:lnTo>
                    <a:lnTo>
                      <a:pt x="2183" y="1201"/>
                    </a:lnTo>
                    <a:lnTo>
                      <a:pt x="2196" y="1162"/>
                    </a:lnTo>
                    <a:lnTo>
                      <a:pt x="2205" y="1123"/>
                    </a:lnTo>
                    <a:lnTo>
                      <a:pt x="2209" y="1081"/>
                    </a:lnTo>
                    <a:lnTo>
                      <a:pt x="2206" y="1037"/>
                    </a:lnTo>
                    <a:lnTo>
                      <a:pt x="2199" y="995"/>
                    </a:lnTo>
                    <a:lnTo>
                      <a:pt x="2186" y="955"/>
                    </a:lnTo>
                    <a:lnTo>
                      <a:pt x="2168" y="917"/>
                    </a:lnTo>
                    <a:lnTo>
                      <a:pt x="2147" y="881"/>
                    </a:lnTo>
                    <a:lnTo>
                      <a:pt x="2119" y="849"/>
                    </a:lnTo>
                    <a:lnTo>
                      <a:pt x="2090" y="820"/>
                    </a:lnTo>
                    <a:lnTo>
                      <a:pt x="2057" y="796"/>
                    </a:lnTo>
                    <a:lnTo>
                      <a:pt x="2021" y="775"/>
                    </a:lnTo>
                    <a:lnTo>
                      <a:pt x="1981" y="759"/>
                    </a:lnTo>
                    <a:lnTo>
                      <a:pt x="1941" y="750"/>
                    </a:lnTo>
                    <a:lnTo>
                      <a:pt x="1898" y="746"/>
                    </a:lnTo>
                    <a:close/>
                    <a:moveTo>
                      <a:pt x="1953" y="0"/>
                    </a:moveTo>
                    <a:lnTo>
                      <a:pt x="1954" y="0"/>
                    </a:lnTo>
                    <a:lnTo>
                      <a:pt x="1962" y="0"/>
                    </a:lnTo>
                    <a:lnTo>
                      <a:pt x="2046" y="5"/>
                    </a:lnTo>
                    <a:lnTo>
                      <a:pt x="2127" y="16"/>
                    </a:lnTo>
                    <a:lnTo>
                      <a:pt x="2205" y="32"/>
                    </a:lnTo>
                    <a:lnTo>
                      <a:pt x="2281" y="54"/>
                    </a:lnTo>
                    <a:lnTo>
                      <a:pt x="2354" y="80"/>
                    </a:lnTo>
                    <a:lnTo>
                      <a:pt x="2422" y="111"/>
                    </a:lnTo>
                    <a:lnTo>
                      <a:pt x="2488" y="147"/>
                    </a:lnTo>
                    <a:lnTo>
                      <a:pt x="2549" y="187"/>
                    </a:lnTo>
                    <a:lnTo>
                      <a:pt x="2608" y="232"/>
                    </a:lnTo>
                    <a:lnTo>
                      <a:pt x="2662" y="281"/>
                    </a:lnTo>
                    <a:lnTo>
                      <a:pt x="2712" y="333"/>
                    </a:lnTo>
                    <a:lnTo>
                      <a:pt x="2757" y="390"/>
                    </a:lnTo>
                    <a:lnTo>
                      <a:pt x="2798" y="450"/>
                    </a:lnTo>
                    <a:lnTo>
                      <a:pt x="2834" y="513"/>
                    </a:lnTo>
                    <a:lnTo>
                      <a:pt x="2865" y="581"/>
                    </a:lnTo>
                    <a:lnTo>
                      <a:pt x="2891" y="652"/>
                    </a:lnTo>
                    <a:lnTo>
                      <a:pt x="2911" y="724"/>
                    </a:lnTo>
                    <a:lnTo>
                      <a:pt x="2927" y="800"/>
                    </a:lnTo>
                    <a:lnTo>
                      <a:pt x="2936" y="880"/>
                    </a:lnTo>
                    <a:lnTo>
                      <a:pt x="2939" y="961"/>
                    </a:lnTo>
                    <a:lnTo>
                      <a:pt x="2945" y="1042"/>
                    </a:lnTo>
                    <a:lnTo>
                      <a:pt x="2947" y="1121"/>
                    </a:lnTo>
                    <a:lnTo>
                      <a:pt x="2944" y="1199"/>
                    </a:lnTo>
                    <a:lnTo>
                      <a:pt x="2938" y="1273"/>
                    </a:lnTo>
                    <a:lnTo>
                      <a:pt x="2928" y="1346"/>
                    </a:lnTo>
                    <a:lnTo>
                      <a:pt x="2913" y="1416"/>
                    </a:lnTo>
                    <a:lnTo>
                      <a:pt x="2959" y="1419"/>
                    </a:lnTo>
                    <a:lnTo>
                      <a:pt x="3004" y="1421"/>
                    </a:lnTo>
                    <a:lnTo>
                      <a:pt x="3050" y="1427"/>
                    </a:lnTo>
                    <a:lnTo>
                      <a:pt x="3098" y="1433"/>
                    </a:lnTo>
                    <a:lnTo>
                      <a:pt x="3145" y="1442"/>
                    </a:lnTo>
                    <a:lnTo>
                      <a:pt x="3193" y="1455"/>
                    </a:lnTo>
                    <a:lnTo>
                      <a:pt x="3239" y="1471"/>
                    </a:lnTo>
                    <a:lnTo>
                      <a:pt x="3285" y="1490"/>
                    </a:lnTo>
                    <a:lnTo>
                      <a:pt x="3331" y="1513"/>
                    </a:lnTo>
                    <a:lnTo>
                      <a:pt x="3374" y="1541"/>
                    </a:lnTo>
                    <a:lnTo>
                      <a:pt x="3414" y="1573"/>
                    </a:lnTo>
                    <a:lnTo>
                      <a:pt x="3454" y="1610"/>
                    </a:lnTo>
                    <a:lnTo>
                      <a:pt x="3490" y="1652"/>
                    </a:lnTo>
                    <a:lnTo>
                      <a:pt x="3524" y="1701"/>
                    </a:lnTo>
                    <a:lnTo>
                      <a:pt x="3551" y="1750"/>
                    </a:lnTo>
                    <a:lnTo>
                      <a:pt x="3574" y="1801"/>
                    </a:lnTo>
                    <a:lnTo>
                      <a:pt x="3591" y="1854"/>
                    </a:lnTo>
                    <a:lnTo>
                      <a:pt x="3603" y="1910"/>
                    </a:lnTo>
                    <a:lnTo>
                      <a:pt x="3613" y="1968"/>
                    </a:lnTo>
                    <a:lnTo>
                      <a:pt x="3619" y="2028"/>
                    </a:lnTo>
                    <a:lnTo>
                      <a:pt x="3624" y="2090"/>
                    </a:lnTo>
                    <a:lnTo>
                      <a:pt x="3626" y="2156"/>
                    </a:lnTo>
                    <a:lnTo>
                      <a:pt x="3627" y="2225"/>
                    </a:lnTo>
                    <a:lnTo>
                      <a:pt x="3627" y="2299"/>
                    </a:lnTo>
                    <a:lnTo>
                      <a:pt x="3627" y="2318"/>
                    </a:lnTo>
                    <a:lnTo>
                      <a:pt x="3627" y="2341"/>
                    </a:lnTo>
                    <a:lnTo>
                      <a:pt x="3627" y="2366"/>
                    </a:lnTo>
                    <a:lnTo>
                      <a:pt x="3628" y="2393"/>
                    </a:lnTo>
                    <a:lnTo>
                      <a:pt x="3628" y="2419"/>
                    </a:lnTo>
                    <a:lnTo>
                      <a:pt x="3628" y="2443"/>
                    </a:lnTo>
                    <a:lnTo>
                      <a:pt x="3628" y="2465"/>
                    </a:lnTo>
                    <a:lnTo>
                      <a:pt x="3628" y="2482"/>
                    </a:lnTo>
                    <a:lnTo>
                      <a:pt x="3629" y="2493"/>
                    </a:lnTo>
                    <a:lnTo>
                      <a:pt x="3629" y="2498"/>
                    </a:lnTo>
                    <a:lnTo>
                      <a:pt x="3625" y="2593"/>
                    </a:lnTo>
                    <a:lnTo>
                      <a:pt x="3617" y="2685"/>
                    </a:lnTo>
                    <a:lnTo>
                      <a:pt x="3602" y="2774"/>
                    </a:lnTo>
                    <a:lnTo>
                      <a:pt x="3583" y="2861"/>
                    </a:lnTo>
                    <a:lnTo>
                      <a:pt x="3559" y="2942"/>
                    </a:lnTo>
                    <a:lnTo>
                      <a:pt x="3531" y="3022"/>
                    </a:lnTo>
                    <a:lnTo>
                      <a:pt x="3497" y="3098"/>
                    </a:lnTo>
                    <a:lnTo>
                      <a:pt x="3458" y="3169"/>
                    </a:lnTo>
                    <a:lnTo>
                      <a:pt x="3414" y="3236"/>
                    </a:lnTo>
                    <a:lnTo>
                      <a:pt x="3366" y="3300"/>
                    </a:lnTo>
                    <a:lnTo>
                      <a:pt x="3314" y="3359"/>
                    </a:lnTo>
                    <a:lnTo>
                      <a:pt x="3256" y="3414"/>
                    </a:lnTo>
                    <a:lnTo>
                      <a:pt x="3195" y="3464"/>
                    </a:lnTo>
                    <a:lnTo>
                      <a:pt x="3129" y="3508"/>
                    </a:lnTo>
                    <a:lnTo>
                      <a:pt x="3060" y="3548"/>
                    </a:lnTo>
                    <a:lnTo>
                      <a:pt x="2988" y="3583"/>
                    </a:lnTo>
                    <a:lnTo>
                      <a:pt x="2911" y="3613"/>
                    </a:lnTo>
                    <a:lnTo>
                      <a:pt x="2832" y="3638"/>
                    </a:lnTo>
                    <a:lnTo>
                      <a:pt x="2749" y="3657"/>
                    </a:lnTo>
                    <a:lnTo>
                      <a:pt x="2665" y="3672"/>
                    </a:lnTo>
                    <a:lnTo>
                      <a:pt x="2576" y="3680"/>
                    </a:lnTo>
                    <a:lnTo>
                      <a:pt x="2485" y="3684"/>
                    </a:lnTo>
                    <a:lnTo>
                      <a:pt x="1159" y="3684"/>
                    </a:lnTo>
                    <a:lnTo>
                      <a:pt x="1134" y="3684"/>
                    </a:lnTo>
                    <a:lnTo>
                      <a:pt x="1042" y="3682"/>
                    </a:lnTo>
                    <a:lnTo>
                      <a:pt x="951" y="3675"/>
                    </a:lnTo>
                    <a:lnTo>
                      <a:pt x="865" y="3664"/>
                    </a:lnTo>
                    <a:lnTo>
                      <a:pt x="784" y="3648"/>
                    </a:lnTo>
                    <a:lnTo>
                      <a:pt x="705" y="3629"/>
                    </a:lnTo>
                    <a:lnTo>
                      <a:pt x="630" y="3604"/>
                    </a:lnTo>
                    <a:lnTo>
                      <a:pt x="560" y="3574"/>
                    </a:lnTo>
                    <a:lnTo>
                      <a:pt x="492" y="3541"/>
                    </a:lnTo>
                    <a:lnTo>
                      <a:pt x="429" y="3504"/>
                    </a:lnTo>
                    <a:lnTo>
                      <a:pt x="370" y="3462"/>
                    </a:lnTo>
                    <a:lnTo>
                      <a:pt x="314" y="3415"/>
                    </a:lnTo>
                    <a:lnTo>
                      <a:pt x="262" y="3364"/>
                    </a:lnTo>
                    <a:lnTo>
                      <a:pt x="216" y="3310"/>
                    </a:lnTo>
                    <a:lnTo>
                      <a:pt x="174" y="3252"/>
                    </a:lnTo>
                    <a:lnTo>
                      <a:pt x="138" y="3191"/>
                    </a:lnTo>
                    <a:lnTo>
                      <a:pt x="106" y="3126"/>
                    </a:lnTo>
                    <a:lnTo>
                      <a:pt x="79" y="3058"/>
                    </a:lnTo>
                    <a:lnTo>
                      <a:pt x="57" y="2985"/>
                    </a:lnTo>
                    <a:lnTo>
                      <a:pt x="38" y="2909"/>
                    </a:lnTo>
                    <a:lnTo>
                      <a:pt x="24" y="2830"/>
                    </a:lnTo>
                    <a:lnTo>
                      <a:pt x="14" y="2746"/>
                    </a:lnTo>
                    <a:lnTo>
                      <a:pt x="6" y="2658"/>
                    </a:lnTo>
                    <a:lnTo>
                      <a:pt x="1" y="2565"/>
                    </a:lnTo>
                    <a:lnTo>
                      <a:pt x="0" y="2467"/>
                    </a:lnTo>
                    <a:lnTo>
                      <a:pt x="0" y="2426"/>
                    </a:lnTo>
                    <a:lnTo>
                      <a:pt x="0" y="2386"/>
                    </a:lnTo>
                    <a:lnTo>
                      <a:pt x="0" y="985"/>
                    </a:lnTo>
                    <a:lnTo>
                      <a:pt x="6" y="913"/>
                    </a:lnTo>
                    <a:lnTo>
                      <a:pt x="16" y="845"/>
                    </a:lnTo>
                    <a:lnTo>
                      <a:pt x="28" y="780"/>
                    </a:lnTo>
                    <a:lnTo>
                      <a:pt x="44" y="720"/>
                    </a:lnTo>
                    <a:lnTo>
                      <a:pt x="63" y="662"/>
                    </a:lnTo>
                    <a:lnTo>
                      <a:pt x="84" y="609"/>
                    </a:lnTo>
                    <a:lnTo>
                      <a:pt x="106" y="559"/>
                    </a:lnTo>
                    <a:lnTo>
                      <a:pt x="131" y="512"/>
                    </a:lnTo>
                    <a:lnTo>
                      <a:pt x="156" y="469"/>
                    </a:lnTo>
                    <a:lnTo>
                      <a:pt x="183" y="429"/>
                    </a:lnTo>
                    <a:lnTo>
                      <a:pt x="209" y="393"/>
                    </a:lnTo>
                    <a:lnTo>
                      <a:pt x="236" y="359"/>
                    </a:lnTo>
                    <a:lnTo>
                      <a:pt x="262" y="328"/>
                    </a:lnTo>
                    <a:lnTo>
                      <a:pt x="288" y="300"/>
                    </a:lnTo>
                    <a:lnTo>
                      <a:pt x="342" y="249"/>
                    </a:lnTo>
                    <a:lnTo>
                      <a:pt x="398" y="201"/>
                    </a:lnTo>
                    <a:lnTo>
                      <a:pt x="459" y="159"/>
                    </a:lnTo>
                    <a:lnTo>
                      <a:pt x="524" y="122"/>
                    </a:lnTo>
                    <a:lnTo>
                      <a:pt x="593" y="90"/>
                    </a:lnTo>
                    <a:lnTo>
                      <a:pt x="664" y="63"/>
                    </a:lnTo>
                    <a:lnTo>
                      <a:pt x="740" y="40"/>
                    </a:lnTo>
                    <a:lnTo>
                      <a:pt x="820" y="23"/>
                    </a:lnTo>
                    <a:lnTo>
                      <a:pt x="902" y="11"/>
                    </a:lnTo>
                    <a:lnTo>
                      <a:pt x="988" y="3"/>
                    </a:lnTo>
                    <a:lnTo>
                      <a:pt x="1079" y="0"/>
                    </a:lnTo>
                    <a:lnTo>
                      <a:pt x="1088" y="0"/>
                    </a:lnTo>
                    <a:lnTo>
                      <a:pt x="1953" y="0"/>
                    </a:lnTo>
                    <a:close/>
                  </a:path>
                </a:pathLst>
              </a:custGeom>
              <a:solidFill>
                <a:srgbClr val="1957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400" kern="1200" dirty="0">
                  <a:solidFill>
                    <a:prstClr val="black"/>
                  </a:solidFill>
                  <a:latin typeface="Arial" panose="020B0604020202020204" pitchFamily="34" charset="0"/>
                  <a:ea typeface="+mn-ea"/>
                  <a:cs typeface="Arial" panose="020B0604020202020204" pitchFamily="34" charset="0"/>
                </a:endParaRPr>
              </a:p>
            </p:txBody>
          </p:sp>
        </p:grpSp>
      </p:grpSp>
      <p:sp>
        <p:nvSpPr>
          <p:cNvPr id="94" name="Subtitle 2">
            <a:hlinkClick r:id="rId3"/>
          </p:cNvPr>
          <p:cNvSpPr txBox="1">
            <a:spLocks/>
          </p:cNvSpPr>
          <p:nvPr userDrawn="1"/>
        </p:nvSpPr>
        <p:spPr>
          <a:xfrm>
            <a:off x="9370955" y="6165432"/>
            <a:ext cx="2959632" cy="4225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0095D8"/>
              </a:buClr>
              <a:buFont typeface="Arial"/>
              <a:buNone/>
              <a:defRPr sz="900" kern="1200">
                <a:solidFill>
                  <a:schemeClr val="bg1"/>
                </a:solidFill>
                <a:latin typeface="Gill Sans MT" charset="0"/>
                <a:ea typeface="Gill Sans MT" charset="0"/>
                <a:cs typeface="Gill Sans MT" charset="0"/>
              </a:defRPr>
            </a:lvl1pPr>
            <a:lvl2pPr marL="457200" indent="0" algn="ctr" defTabSz="914400" rtl="0" eaLnBrk="1" latinLnBrk="0" hangingPunct="1">
              <a:lnSpc>
                <a:spcPct val="90000"/>
              </a:lnSpc>
              <a:spcBef>
                <a:spcPts val="500"/>
              </a:spcBef>
              <a:buFont typeface="Arial"/>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Font typeface="LucidaGrande"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Font typeface="LucidaGrande"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ctr"/>
            <a:r>
              <a:rPr lang="en-US" sz="1600" dirty="0">
                <a:solidFill>
                  <a:prstClr val="white"/>
                </a:solidFill>
                <a:latin typeface="Arial" panose="020B0604020202020204" pitchFamily="34" charset="0"/>
                <a:cs typeface="Arial" panose="020B0604020202020204" pitchFamily="34" charset="0"/>
              </a:rPr>
              <a:t>www.latentview.com</a:t>
            </a:r>
          </a:p>
        </p:txBody>
      </p:sp>
    </p:spTree>
    <p:extLst>
      <p:ext uri="{BB962C8B-B14F-4D97-AF65-F5344CB8AC3E}">
        <p14:creationId xmlns:p14="http://schemas.microsoft.com/office/powerpoint/2010/main" val="1052121958"/>
      </p:ext>
    </p:extLst>
  </p:cSld>
  <p:clrMapOvr>
    <a:masterClrMapping/>
  </p:clrMapOvr>
  <p:extLst mod="1">
    <p:ext uri="{DCECCB84-F9BA-43D5-87BE-67443E8EF086}">
      <p15:sldGuideLst xmlns:p15="http://schemas.microsoft.com/office/powerpoint/2012/main">
        <p15:guide id="1" orient="horz" pos="2160">
          <p15:clr>
            <a:srgbClr val="FBAE40"/>
          </p15:clr>
        </p15:guide>
        <p15:guide id="2" pos="3774">
          <p15:clr>
            <a:srgbClr val="FBAE40"/>
          </p15:clr>
        </p15:guide>
        <p15:guide id="3" orient="horz" pos="2694">
          <p15:clr>
            <a:srgbClr val="FBAE40"/>
          </p15:clr>
        </p15:guide>
        <p15:guide id="4" orient="horz" pos="-2">
          <p15:clr>
            <a:srgbClr val="FBAE40"/>
          </p15:clr>
        </p15:guide>
        <p15:guide id="5" pos="767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20" name="Picture 19">
            <a:extLst>
              <a:ext uri="{FF2B5EF4-FFF2-40B4-BE49-F238E27FC236}">
                <a16:creationId xmlns:a16="http://schemas.microsoft.com/office/drawing/2014/main" id="{ED0CB488-30EA-4015-9174-1E0A80F1A15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865641767"/>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61595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over page">
    <p:spTree>
      <p:nvGrpSpPr>
        <p:cNvPr id="1" name=""/>
        <p:cNvGrpSpPr/>
        <p:nvPr/>
      </p:nvGrpSpPr>
      <p:grpSpPr>
        <a:xfrm>
          <a:off x="0" y="0"/>
          <a:ext cx="0" cy="0"/>
          <a:chOff x="0" y="0"/>
          <a:chExt cx="0" cy="0"/>
        </a:xfrm>
      </p:grpSpPr>
      <p:sp>
        <p:nvSpPr>
          <p:cNvPr id="6" name="Round Same Side Corner Rectangle 5"/>
          <p:cNvSpPr/>
          <p:nvPr userDrawn="1"/>
        </p:nvSpPr>
        <p:spPr>
          <a:xfrm>
            <a:off x="0" y="0"/>
            <a:ext cx="12192000" cy="4611584"/>
          </a:xfrm>
          <a:prstGeom prst="round2SameRect">
            <a:avLst>
              <a:gd name="adj1" fmla="val 0"/>
              <a:gd name="adj2" fmla="val 0"/>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37" name="Title 1"/>
          <p:cNvSpPr>
            <a:spLocks noGrp="1"/>
          </p:cNvSpPr>
          <p:nvPr>
            <p:ph type="title" hasCustomPrompt="1"/>
          </p:nvPr>
        </p:nvSpPr>
        <p:spPr>
          <a:xfrm>
            <a:off x="821343" y="696616"/>
            <a:ext cx="3879577" cy="1145350"/>
          </a:xfrm>
        </p:spPr>
        <p:txBody>
          <a:bodyPr>
            <a:noAutofit/>
          </a:bodyPr>
          <a:lstStyle>
            <a:lvl1pPr algn="l">
              <a:defRPr sz="3200">
                <a:solidFill>
                  <a:schemeClr val="bg1"/>
                </a:solidFill>
                <a:latin typeface="Arial" panose="020B0604020202020204" pitchFamily="34" charset="0"/>
                <a:cs typeface="Arial" panose="020B0604020202020204" pitchFamily="34" charset="0"/>
              </a:defRPr>
            </a:lvl1pPr>
          </a:lstStyle>
          <a:p>
            <a:r>
              <a:rPr lang="en-US" dirty="0"/>
              <a:t>Cover page title</a:t>
            </a:r>
          </a:p>
        </p:txBody>
      </p:sp>
      <p:sp>
        <p:nvSpPr>
          <p:cNvPr id="2" name="Rectangle 1">
            <a:extLst>
              <a:ext uri="{FF2B5EF4-FFF2-40B4-BE49-F238E27FC236}">
                <a16:creationId xmlns:a16="http://schemas.microsoft.com/office/drawing/2014/main" id="{4BE69B08-3482-49FC-A617-0DB4DAC84B53}"/>
              </a:ext>
            </a:extLst>
          </p:cNvPr>
          <p:cNvSpPr/>
          <p:nvPr userDrawn="1"/>
        </p:nvSpPr>
        <p:spPr>
          <a:xfrm>
            <a:off x="0" y="4611584"/>
            <a:ext cx="12192000" cy="224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pic>
        <p:nvPicPr>
          <p:cNvPr id="4" name="Picture 3">
            <a:extLst>
              <a:ext uri="{FF2B5EF4-FFF2-40B4-BE49-F238E27FC236}">
                <a16:creationId xmlns:a16="http://schemas.microsoft.com/office/drawing/2014/main" id="{09C81C4B-C5DA-4899-A75E-9654BAB68B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2499" y="4522684"/>
            <a:ext cx="3129501" cy="2212918"/>
          </a:xfrm>
          <a:prstGeom prst="rect">
            <a:avLst/>
          </a:prstGeom>
        </p:spPr>
      </p:pic>
      <p:sp>
        <p:nvSpPr>
          <p:cNvPr id="10" name="Content Placeholder 59">
            <a:extLst>
              <a:ext uri="{FF2B5EF4-FFF2-40B4-BE49-F238E27FC236}">
                <a16:creationId xmlns:a16="http://schemas.microsoft.com/office/drawing/2014/main" id="{5B0B0397-412B-4B04-A5E8-7B4CD5A1C0EE}"/>
              </a:ext>
            </a:extLst>
          </p:cNvPr>
          <p:cNvSpPr>
            <a:spLocks noGrp="1"/>
          </p:cNvSpPr>
          <p:nvPr>
            <p:ph sz="quarter" idx="12" hasCustomPrompt="1"/>
          </p:nvPr>
        </p:nvSpPr>
        <p:spPr>
          <a:xfrm>
            <a:off x="821343" y="2126743"/>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11" name="Content Placeholder 59">
            <a:extLst>
              <a:ext uri="{FF2B5EF4-FFF2-40B4-BE49-F238E27FC236}">
                <a16:creationId xmlns:a16="http://schemas.microsoft.com/office/drawing/2014/main" id="{359C7133-707C-454A-9CAC-5B147D950A90}"/>
              </a:ext>
            </a:extLst>
          </p:cNvPr>
          <p:cNvSpPr>
            <a:spLocks noGrp="1"/>
          </p:cNvSpPr>
          <p:nvPr>
            <p:ph sz="quarter" idx="11" hasCustomPrompt="1"/>
          </p:nvPr>
        </p:nvSpPr>
        <p:spPr>
          <a:xfrm>
            <a:off x="821343" y="2868720"/>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8" name="Content Placeholder 59">
            <a:extLst>
              <a:ext uri="{FF2B5EF4-FFF2-40B4-BE49-F238E27FC236}">
                <a16:creationId xmlns:a16="http://schemas.microsoft.com/office/drawing/2014/main" id="{359C7133-707C-454A-9CAC-5B147D950A90}"/>
              </a:ext>
            </a:extLst>
          </p:cNvPr>
          <p:cNvSpPr>
            <a:spLocks noGrp="1"/>
          </p:cNvSpPr>
          <p:nvPr>
            <p:ph sz="quarter" idx="13" hasCustomPrompt="1"/>
          </p:nvPr>
        </p:nvSpPr>
        <p:spPr>
          <a:xfrm>
            <a:off x="821343" y="3580454"/>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4266117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324042" y="238543"/>
            <a:ext cx="11543103" cy="616455"/>
          </a:xfrm>
        </p:spPr>
        <p:txBody>
          <a:bodyPr anchor="ctr" anchorCtr="0">
            <a:noAutofit/>
          </a:bodyPr>
          <a:lstStyle>
            <a:lvl1pPr>
              <a:lnSpc>
                <a:spcPct val="100000"/>
              </a:lnSpc>
              <a:defRPr/>
            </a:lvl1pPr>
          </a:lstStyle>
          <a:p>
            <a:endParaRPr lang="de-DE" dirty="0"/>
          </a:p>
        </p:txBody>
      </p:sp>
      <p:sp>
        <p:nvSpPr>
          <p:cNvPr id="9" name="Textplatzhalter 7"/>
          <p:cNvSpPr>
            <a:spLocks noGrp="1"/>
          </p:cNvSpPr>
          <p:nvPr>
            <p:ph type="body" sz="quarter" idx="13"/>
          </p:nvPr>
        </p:nvSpPr>
        <p:spPr>
          <a:xfrm>
            <a:off x="324041" y="854994"/>
            <a:ext cx="11543103" cy="336244"/>
          </a:xfrm>
        </p:spPr>
        <p:txBody>
          <a:bodyPr lIns="0" tIns="0" rIns="0" bIns="0" anchor="t" anchorCtr="0">
            <a:noAutofit/>
          </a:bodyPr>
          <a:lstStyle>
            <a:lvl1pPr marL="0" indent="0">
              <a:buNone/>
              <a:defRPr sz="2000"/>
            </a:lvl1pPr>
          </a:lstStyle>
          <a:p>
            <a:pPr lvl="0"/>
            <a:r>
              <a:rPr lang="en-US" dirty="0"/>
              <a:t>Click to edit Master text styles</a:t>
            </a:r>
          </a:p>
        </p:txBody>
      </p:sp>
      <p:sp>
        <p:nvSpPr>
          <p:cNvPr id="5" name="Slide Number Placeholder 4"/>
          <p:cNvSpPr>
            <a:spLocks noGrp="1"/>
          </p:cNvSpPr>
          <p:nvPr>
            <p:ph type="sldNum" sz="quarter" idx="16"/>
          </p:nvPr>
        </p:nvSpPr>
        <p:spPr>
          <a:xfrm>
            <a:off x="11643360" y="6492240"/>
            <a:ext cx="548640" cy="365760"/>
          </a:xfrm>
        </p:spPr>
        <p:txBody>
          <a:bodyPr/>
          <a:lstStyle>
            <a:lvl1pPr algn="ctr">
              <a:defRPr/>
            </a:lvl1pPr>
          </a:lstStyle>
          <a:p>
            <a:fld id="{9DC1E638-3F78-4E0D-883A-B278700C48C0}" type="slidenum">
              <a:rPr lang="de-DE" smtClean="0">
                <a:solidFill>
                  <a:prstClr val="black">
                    <a:tint val="75000"/>
                  </a:prstClr>
                </a:solidFill>
              </a:rPr>
              <a:pPr/>
              <a:t>‹#›</a:t>
            </a:fld>
            <a:endParaRPr lang="de-DE" dirty="0">
              <a:solidFill>
                <a:prstClr val="black">
                  <a:tint val="75000"/>
                </a:prstClr>
              </a:solidFill>
            </a:endParaRPr>
          </a:p>
        </p:txBody>
      </p:sp>
    </p:spTree>
    <p:extLst>
      <p:ext uri="{BB962C8B-B14F-4D97-AF65-F5344CB8AC3E}">
        <p14:creationId xmlns:p14="http://schemas.microsoft.com/office/powerpoint/2010/main" val="7360998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rp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218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1" y="2121"/>
                        <a:ext cx="2116" cy="2116"/>
                      </a:xfrm>
                      <a:prstGeom prst="rect">
                        <a:avLst/>
                      </a:prstGeom>
                    </p:spPr>
                  </p:pic>
                </p:oleObj>
              </mc:Fallback>
            </mc:AlternateContent>
          </a:graphicData>
        </a:graphic>
      </p:graphicFrame>
      <p:sp>
        <p:nvSpPr>
          <p:cNvPr id="15" name="Slide Number Placeholder 14"/>
          <p:cNvSpPr>
            <a:spLocks noGrp="1"/>
          </p:cNvSpPr>
          <p:nvPr>
            <p:ph type="sldNum" sz="quarter" idx="13"/>
          </p:nvPr>
        </p:nvSpPr>
        <p:spPr>
          <a:xfrm>
            <a:off x="11257940" y="6492875"/>
            <a:ext cx="934065" cy="365125"/>
          </a:xfrm>
          <a:prstGeom prst="rect">
            <a:avLst/>
          </a:prstGeom>
        </p:spPr>
        <p:txBody>
          <a:bodyPr/>
          <a:lstStyle>
            <a:lvl1pPr>
              <a:defRPr sz="1467"/>
            </a:lvl1pPr>
          </a:lstStyle>
          <a:p>
            <a:fld id="{017F978A-4048-4358-9343-69F8E58C9EF5}" type="slidenum">
              <a:rPr smtClean="0">
                <a:solidFill>
                  <a:prstClr val="black"/>
                </a:solidFill>
              </a:rPr>
              <a:pPr/>
              <a:t>‹#›</a:t>
            </a:fld>
            <a:endParaRPr>
              <a:solidFill>
                <a:prstClr val="black"/>
              </a:solidFill>
            </a:endParaRPr>
          </a:p>
        </p:txBody>
      </p:sp>
      <p:sp>
        <p:nvSpPr>
          <p:cNvPr id="9" name="Footer Placeholder 4">
            <a:extLst>
              <a:ext uri="{FF2B5EF4-FFF2-40B4-BE49-F238E27FC236}">
                <a16:creationId xmlns:a16="http://schemas.microsoft.com/office/drawing/2014/main" id="{2983E211-5213-4681-8E3B-8A9EC47660E0}"/>
              </a:ext>
            </a:extLst>
          </p:cNvPr>
          <p:cNvSpPr>
            <a:spLocks noGrp="1"/>
          </p:cNvSpPr>
          <p:nvPr>
            <p:ph type="ftr" sz="quarter" idx="11"/>
          </p:nvPr>
        </p:nvSpPr>
        <p:spPr>
          <a:xfrm>
            <a:off x="5" y="6573223"/>
            <a:ext cx="960092" cy="256535"/>
          </a:xfrm>
          <a:prstGeom prst="rect">
            <a:avLst/>
          </a:prstGeom>
        </p:spPr>
        <p:txBody>
          <a:bodyPr wrap="square">
            <a:spAutoFit/>
          </a:bodyPr>
          <a:lstStyle>
            <a:lvl1pPr>
              <a:defRPr sz="1067"/>
            </a:lvl1pPr>
          </a:lstStyle>
          <a:p>
            <a:r>
              <a:rPr lang="en-US">
                <a:solidFill>
                  <a:prstClr val="black"/>
                </a:solidFill>
              </a:rPr>
              <a:t>Confidential</a:t>
            </a:r>
          </a:p>
        </p:txBody>
      </p:sp>
      <p:sp>
        <p:nvSpPr>
          <p:cNvPr id="5" name="Text Placeholder 4"/>
          <p:cNvSpPr>
            <a:spLocks noGrp="1"/>
          </p:cNvSpPr>
          <p:nvPr>
            <p:ph type="body" sz="quarter" idx="14" hasCustomPrompt="1"/>
          </p:nvPr>
        </p:nvSpPr>
        <p:spPr>
          <a:xfrm>
            <a:off x="223102" y="104349"/>
            <a:ext cx="588452" cy="578620"/>
          </a:xfrm>
          <a:prstGeom prst="rect">
            <a:avLst/>
          </a:prstGeom>
          <a:solidFill>
            <a:schemeClr val="bg1"/>
          </a:solidFill>
        </p:spPr>
        <p:txBody>
          <a:bodyPr vert="horz" wrap="square" lIns="146287" tIns="91430" rIns="146287" bIns="91430" rtlCol="0" anchor="ctr">
            <a:noAutofit/>
          </a:bodyPr>
          <a:lstStyle>
            <a:lvl1pPr>
              <a:defRPr lang="en-US" sz="2400" b="0" cap="none" spc="-133" baseline="0" dirty="0" smtClean="0">
                <a:ln w="3175">
                  <a:noFill/>
                </a:ln>
                <a:solidFill>
                  <a:schemeClr val="accent5">
                    <a:lumMod val="50000"/>
                  </a:schemeClr>
                </a:solidFill>
                <a:effectLst/>
                <a:cs typeface="Calibri" panose="020F0502020204030204" pitchFamily="34" charset="0"/>
              </a:defRPr>
            </a:lvl1pPr>
            <a:lvl2pPr>
              <a:defRPr lang="en-US" dirty="0" smtClean="0"/>
            </a:lvl2pPr>
            <a:lvl3pPr>
              <a:defRPr lang="en-US" sz="2400" dirty="0" smtClean="0"/>
            </a:lvl3pPr>
            <a:lvl4pPr>
              <a:defRPr lang="en-US" sz="2400" dirty="0" smtClean="0"/>
            </a:lvl4pPr>
            <a:lvl5pPr>
              <a:defRPr lang="en-IN" sz="2400" dirty="0"/>
            </a:lvl5pPr>
          </a:lstStyle>
          <a:p>
            <a:pPr marL="0" lvl="0" defTabSz="1218986">
              <a:spcBef>
                <a:spcPct val="0"/>
              </a:spcBef>
              <a:buNone/>
            </a:pPr>
            <a:r>
              <a:rPr lang="en-US" dirty="0"/>
              <a:t>…</a:t>
            </a:r>
            <a:endParaRPr lang="en-IN" dirty="0"/>
          </a:p>
        </p:txBody>
      </p:sp>
    </p:spTree>
    <p:extLst>
      <p:ext uri="{BB962C8B-B14F-4D97-AF65-F5344CB8AC3E}">
        <p14:creationId xmlns:p14="http://schemas.microsoft.com/office/powerpoint/2010/main" val="8659886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rp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2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4" name="Picture 3"/>
          <p:cNvPicPr preferRelativeResize="0">
            <a:picLocks/>
          </p:cNvPicPr>
          <p:nvPr userDrawn="1"/>
        </p:nvPicPr>
        <p:blipFill>
          <a:blip r:embed="rId6" cstate="email">
            <a:extLst>
              <a:ext uri="{28A0092B-C50C-407E-A947-70E740481C1C}">
                <a14:useLocalDpi xmlns:a14="http://schemas.microsoft.com/office/drawing/2010/main"/>
              </a:ext>
            </a:extLst>
          </a:blip>
          <a:stretch>
            <a:fillRect/>
          </a:stretch>
        </p:blipFill>
        <p:spPr>
          <a:xfrm>
            <a:off x="2" y="201168"/>
            <a:ext cx="12191999" cy="384048"/>
          </a:xfrm>
          <a:prstGeom prst="rect">
            <a:avLst/>
          </a:prstGeom>
        </p:spPr>
      </p:pic>
      <p:sp>
        <p:nvSpPr>
          <p:cNvPr id="15" name="Slide Number Placeholder 14"/>
          <p:cNvSpPr>
            <a:spLocks noGrp="1"/>
          </p:cNvSpPr>
          <p:nvPr>
            <p:ph type="sldNum" sz="quarter" idx="13"/>
          </p:nvPr>
        </p:nvSpPr>
        <p:spPr>
          <a:xfrm>
            <a:off x="11257934" y="6492876"/>
            <a:ext cx="934065" cy="365125"/>
          </a:xfrm>
        </p:spPr>
        <p:txBody>
          <a:bodyPr/>
          <a:lstStyle/>
          <a:p>
            <a:fld id="{017F978A-4048-4358-9343-69F8E58C9EF5}" type="slidenum">
              <a:rPr>
                <a:solidFill>
                  <a:prstClr val="black"/>
                </a:solidFill>
              </a:rPr>
              <a:pPr/>
              <a:t>‹#›</a:t>
            </a:fld>
            <a:endParaRPr>
              <a:solidFill>
                <a:prstClr val="black"/>
              </a:solidFill>
            </a:endParaRPr>
          </a:p>
        </p:txBody>
      </p:sp>
      <p:sp>
        <p:nvSpPr>
          <p:cNvPr id="7" name="Rectangle 6"/>
          <p:cNvSpPr/>
          <p:nvPr/>
        </p:nvSpPr>
        <p:spPr>
          <a:xfrm>
            <a:off x="10763252" y="20034"/>
            <a:ext cx="1219200" cy="84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fontAlgn="base">
              <a:spcBef>
                <a:spcPct val="0"/>
              </a:spcBef>
              <a:spcAft>
                <a:spcPct val="0"/>
              </a:spcAft>
            </a:pPr>
            <a:endParaRPr lang="en-IN" sz="2400">
              <a:solidFill>
                <a:prstClr val="white"/>
              </a:solidFill>
            </a:endParaRPr>
          </a:p>
        </p:txBody>
      </p:sp>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91305" y="34548"/>
            <a:ext cx="1181623" cy="871657"/>
          </a:xfrm>
          <a:prstGeom prst="rect">
            <a:avLst/>
          </a:prstGeom>
        </p:spPr>
      </p:pic>
    </p:spTree>
    <p:extLst>
      <p:ext uri="{BB962C8B-B14F-4D97-AF65-F5344CB8AC3E}">
        <p14:creationId xmlns:p14="http://schemas.microsoft.com/office/powerpoint/2010/main" val="543070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229" name="think-cell Slide" r:id="rId4" imgW="180" imgH="180" progId="TCLayout.ActiveDocument.1">
                  <p:embed/>
                </p:oleObj>
              </mc:Choice>
              <mc:Fallback>
                <p:oleObj name="think-cell Slide" r:id="rId4" imgW="180" imgH="18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pPr>
              <a:defRPr/>
            </a:pPr>
            <a:fld id="{09343BD6-7CF3-425F-87EB-32CF662AC21B}" type="slidenum">
              <a:rPr>
                <a:solidFill>
                  <a:srgbClr val="000000">
                    <a:tint val="75000"/>
                  </a:srgbClr>
                </a:solidFill>
              </a:rPr>
              <a:pPr>
                <a:defRPr/>
              </a:pPr>
              <a:t>‹#›</a:t>
            </a:fld>
            <a:endParaRPr dirty="0">
              <a:solidFill>
                <a:srgbClr val="000000">
                  <a:tint val="75000"/>
                </a:srgbClr>
              </a:solidFill>
            </a:endParaRPr>
          </a:p>
        </p:txBody>
      </p:sp>
    </p:spTree>
    <p:extLst>
      <p:ext uri="{BB962C8B-B14F-4D97-AF65-F5344CB8AC3E}">
        <p14:creationId xmlns:p14="http://schemas.microsoft.com/office/powerpoint/2010/main" val="1944751337"/>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cover 2.jpg"/>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brightnessContrast bright="-69000"/>
                    </a14:imgEffect>
                  </a14:imgLayer>
                </a14:imgProps>
              </a:ext>
              <a:ext uri="{28A0092B-C50C-407E-A947-70E740481C1C}">
                <a14:useLocalDpi xmlns:a14="http://schemas.microsoft.com/office/drawing/2010/main"/>
              </a:ext>
            </a:extLst>
          </a:blip>
          <a:srcRect/>
          <a:stretch/>
        </p:blipFill>
        <p:spPr>
          <a:xfrm>
            <a:off x="0" y="510239"/>
            <a:ext cx="12242828" cy="6347762"/>
          </a:xfrm>
          <a:prstGeom prst="rect">
            <a:avLst/>
          </a:prstGeom>
          <a:ln w="12700">
            <a:miter lim="400000"/>
          </a:ln>
        </p:spPr>
      </p:pic>
      <p:sp>
        <p:nvSpPr>
          <p:cNvPr id="2" name="Title 1">
            <a:extLst>
              <a:ext uri="{FF2B5EF4-FFF2-40B4-BE49-F238E27FC236}">
                <a16:creationId xmlns:a16="http://schemas.microsoft.com/office/drawing/2014/main" id="{85A4344E-8840-41DC-8090-C221A510CE9F}"/>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Sample text</a:t>
            </a:r>
          </a:p>
        </p:txBody>
      </p:sp>
      <p:sp>
        <p:nvSpPr>
          <p:cNvPr id="8" name="Shape 4526"/>
          <p:cNvSpPr/>
          <p:nvPr userDrawn="1"/>
        </p:nvSpPr>
        <p:spPr>
          <a:xfrm flipH="1">
            <a:off x="1161261" y="1888249"/>
            <a:ext cx="690302" cy="690300"/>
          </a:xfrm>
          <a:prstGeom prst="ellipse">
            <a:avLst/>
          </a:prstGeom>
          <a:solidFill>
            <a:schemeClr val="accent4"/>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9" name="Shape 4526"/>
          <p:cNvSpPr/>
          <p:nvPr userDrawn="1"/>
        </p:nvSpPr>
        <p:spPr>
          <a:xfrm flipH="1">
            <a:off x="4201316" y="1888249"/>
            <a:ext cx="690302" cy="690300"/>
          </a:xfrm>
          <a:prstGeom prst="ellipse">
            <a:avLst/>
          </a:prstGeom>
          <a:solidFill>
            <a:srgbClr val="002060"/>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0" name="Shape 4526"/>
          <p:cNvSpPr/>
          <p:nvPr userDrawn="1"/>
        </p:nvSpPr>
        <p:spPr>
          <a:xfrm flipH="1">
            <a:off x="7241371" y="1888249"/>
            <a:ext cx="690302" cy="690300"/>
          </a:xfrm>
          <a:prstGeom prst="ellipse">
            <a:avLst/>
          </a:prstGeom>
          <a:solidFill>
            <a:schemeClr val="accent3"/>
          </a:solidFill>
          <a:ln w="3175" cap="flat" cmpd="sng">
            <a:solidFill>
              <a:schemeClr val="bg1"/>
            </a:solidFill>
            <a:prstDash val="solid"/>
            <a:miter lim="400000"/>
          </a:ln>
          <a:effectLst/>
        </p:spPr>
        <p:txBody>
          <a:bodyPr wrap="square" lIns="50800" tIns="50800" rIns="50800" bIns="50800" numCol="1" anchor="ctr">
            <a:noAutofit/>
          </a:bodyPr>
          <a:lstStyle/>
          <a:p>
            <a:pPr>
              <a:defRPr sz="2500"/>
            </a:pPr>
            <a:endParaRPr sz="2500" kern="1200" dirty="0">
              <a:solidFill>
                <a:prstClr val="black"/>
              </a:solidFill>
              <a:latin typeface="Avenir Book"/>
              <a:ea typeface="+mn-ea"/>
              <a:cs typeface="Avenir Book"/>
            </a:endParaRPr>
          </a:p>
        </p:txBody>
      </p:sp>
      <p:sp>
        <p:nvSpPr>
          <p:cNvPr id="11" name="Oval 10"/>
          <p:cNvSpPr/>
          <p:nvPr userDrawn="1"/>
        </p:nvSpPr>
        <p:spPr>
          <a:xfrm>
            <a:off x="10281427" y="1890963"/>
            <a:ext cx="684872" cy="684872"/>
          </a:xfrm>
          <a:prstGeom prst="ellipse">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Content Placeholder 10"/>
          <p:cNvSpPr>
            <a:spLocks noGrp="1"/>
          </p:cNvSpPr>
          <p:nvPr>
            <p:ph sz="quarter" idx="12" hasCustomPrompt="1"/>
          </p:nvPr>
        </p:nvSpPr>
        <p:spPr>
          <a:xfrm>
            <a:off x="205855" y="982113"/>
            <a:ext cx="11728012" cy="756822"/>
          </a:xfrm>
        </p:spPr>
        <p:txBody>
          <a:bodyPr anchor="ctr">
            <a:noAutofit/>
          </a:bodyPr>
          <a:lstStyle>
            <a:lvl1pPr marL="0" indent="0" algn="ctr">
              <a:spcBef>
                <a:spcPts val="0"/>
              </a:spcBef>
              <a:buNone/>
              <a:defRPr sz="1600">
                <a:solidFill>
                  <a:schemeClr val="tx1"/>
                </a:solidFill>
                <a:latin typeface="Arial" panose="020B0604020202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t>
            </a:r>
            <a:br>
              <a:rPr lang="en-US" dirty="0"/>
            </a:br>
            <a:r>
              <a:rPr lang="en-US" dirty="0"/>
              <a:t>a galley of type and scrambled it to make a type specimen book.</a:t>
            </a:r>
          </a:p>
        </p:txBody>
      </p:sp>
      <p:sp>
        <p:nvSpPr>
          <p:cNvPr id="14" name="Content Placeholder 10"/>
          <p:cNvSpPr>
            <a:spLocks noGrp="1"/>
          </p:cNvSpPr>
          <p:nvPr>
            <p:ph sz="quarter" idx="13" hasCustomPrompt="1"/>
          </p:nvPr>
        </p:nvSpPr>
        <p:spPr>
          <a:xfrm>
            <a:off x="22057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4"/>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5" name="Content Placeholder 10"/>
          <p:cNvSpPr>
            <a:spLocks noGrp="1"/>
          </p:cNvSpPr>
          <p:nvPr>
            <p:ph sz="quarter" idx="14" hasCustomPrompt="1"/>
          </p:nvPr>
        </p:nvSpPr>
        <p:spPr>
          <a:xfrm>
            <a:off x="22057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6" name="Content Placeholder 10"/>
          <p:cNvSpPr>
            <a:spLocks noGrp="1"/>
          </p:cNvSpPr>
          <p:nvPr>
            <p:ph sz="quarter" idx="15" hasCustomPrompt="1"/>
          </p:nvPr>
        </p:nvSpPr>
        <p:spPr>
          <a:xfrm>
            <a:off x="3277737"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rgbClr val="002060"/>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7" name="Content Placeholder 10"/>
          <p:cNvSpPr>
            <a:spLocks noGrp="1"/>
          </p:cNvSpPr>
          <p:nvPr>
            <p:ph sz="quarter" idx="16" hasCustomPrompt="1"/>
          </p:nvPr>
        </p:nvSpPr>
        <p:spPr>
          <a:xfrm>
            <a:off x="3277737"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18" name="Content Placeholder 10"/>
          <p:cNvSpPr>
            <a:spLocks noGrp="1"/>
          </p:cNvSpPr>
          <p:nvPr>
            <p:ph sz="quarter" idx="17" hasCustomPrompt="1"/>
          </p:nvPr>
        </p:nvSpPr>
        <p:spPr>
          <a:xfrm>
            <a:off x="6340285"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3"/>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19" name="Content Placeholder 10"/>
          <p:cNvSpPr>
            <a:spLocks noGrp="1"/>
          </p:cNvSpPr>
          <p:nvPr>
            <p:ph sz="quarter" idx="18" hasCustomPrompt="1"/>
          </p:nvPr>
        </p:nvSpPr>
        <p:spPr>
          <a:xfrm>
            <a:off x="6340285"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0" name="Content Placeholder 10"/>
          <p:cNvSpPr>
            <a:spLocks noGrp="1"/>
          </p:cNvSpPr>
          <p:nvPr>
            <p:ph sz="quarter" idx="19" hasCustomPrompt="1"/>
          </p:nvPr>
        </p:nvSpPr>
        <p:spPr>
          <a:xfrm>
            <a:off x="9362193" y="2679358"/>
            <a:ext cx="2571674" cy="517951"/>
          </a:xfrm>
        </p:spPr>
        <p:txBody>
          <a:bodyPr anchor="ctr">
            <a:noAutofit/>
          </a:bodyPr>
          <a:lstStyle>
            <a:lvl1pPr marL="0" indent="0" algn="ctr" defTabSz="914400" rtl="0" eaLnBrk="1" latinLnBrk="0" hangingPunct="1">
              <a:lnSpc>
                <a:spcPct val="100000"/>
              </a:lnSpc>
              <a:spcBef>
                <a:spcPts val="0"/>
              </a:spcBef>
              <a:buNone/>
              <a:defRPr lang="en-US" sz="2000" b="1" kern="1200" dirty="0">
                <a:solidFill>
                  <a:schemeClr val="accent2"/>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Sample text</a:t>
            </a:r>
          </a:p>
        </p:txBody>
      </p:sp>
      <p:sp>
        <p:nvSpPr>
          <p:cNvPr id="21" name="Content Placeholder 10"/>
          <p:cNvSpPr>
            <a:spLocks noGrp="1"/>
          </p:cNvSpPr>
          <p:nvPr>
            <p:ph sz="quarter" idx="20" hasCustomPrompt="1"/>
          </p:nvPr>
        </p:nvSpPr>
        <p:spPr>
          <a:xfrm>
            <a:off x="9362193" y="3279721"/>
            <a:ext cx="2571674" cy="2343839"/>
          </a:xfrm>
        </p:spPr>
        <p:txBody>
          <a:bodyPr anchor="t">
            <a:noAutofit/>
          </a:bodyPr>
          <a:lstStyle>
            <a:lvl1pPr marL="0" indent="0" algn="ctr" defTabSz="914400" rtl="0" eaLnBrk="1" latinLnBrk="0" hangingPunct="1">
              <a:lnSpc>
                <a:spcPct val="100000"/>
              </a:lnSpc>
              <a:spcBef>
                <a:spcPts val="0"/>
              </a:spcBef>
              <a:buNone/>
              <a:defRPr lang="en-US" sz="1400" b="0" kern="1200" dirty="0">
                <a:solidFill>
                  <a:schemeClr val="tx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Lorem Ipsum is simply dummy text of the printing and typesetting industry. Lorem Ipsum has </a:t>
            </a:r>
            <a:br>
              <a:rPr lang="en-US" dirty="0"/>
            </a:br>
            <a:r>
              <a:rPr lang="en-US" dirty="0"/>
              <a:t>been the industry's standard dummy text ever since the 1500s, when an unknown printer took a galley of type and scrambled it to make a type specimen book.</a:t>
            </a:r>
          </a:p>
        </p:txBody>
      </p:sp>
      <p:sp>
        <p:nvSpPr>
          <p:cNvPr id="22" name="Content Placeholder 10"/>
          <p:cNvSpPr>
            <a:spLocks noGrp="1"/>
          </p:cNvSpPr>
          <p:nvPr>
            <p:ph sz="quarter" idx="21" hasCustomPrompt="1"/>
          </p:nvPr>
        </p:nvSpPr>
        <p:spPr>
          <a:xfrm>
            <a:off x="121450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3" name="Content Placeholder 10"/>
          <p:cNvSpPr>
            <a:spLocks noGrp="1"/>
          </p:cNvSpPr>
          <p:nvPr>
            <p:ph sz="quarter" idx="22" hasCustomPrompt="1"/>
          </p:nvPr>
        </p:nvSpPr>
        <p:spPr>
          <a:xfrm>
            <a:off x="4254559"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4" name="Content Placeholder 10"/>
          <p:cNvSpPr>
            <a:spLocks noGrp="1"/>
          </p:cNvSpPr>
          <p:nvPr>
            <p:ph sz="quarter" idx="23" hasCustomPrompt="1"/>
          </p:nvPr>
        </p:nvSpPr>
        <p:spPr>
          <a:xfrm>
            <a:off x="7294614"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
        <p:nvSpPr>
          <p:cNvPr id="25" name="Content Placeholder 10"/>
          <p:cNvSpPr>
            <a:spLocks noGrp="1"/>
          </p:cNvSpPr>
          <p:nvPr>
            <p:ph sz="quarter" idx="24" hasCustomPrompt="1"/>
          </p:nvPr>
        </p:nvSpPr>
        <p:spPr>
          <a:xfrm>
            <a:off x="10331955" y="2072587"/>
            <a:ext cx="583816" cy="321624"/>
          </a:xfrm>
        </p:spPr>
        <p:txBody>
          <a:bodyPr anchor="ctr">
            <a:noAutofit/>
          </a:bodyPr>
          <a:lstStyle>
            <a:lvl1pPr marL="0" indent="0" algn="ctr" defTabSz="914400" rtl="0" eaLnBrk="1" latinLnBrk="0" hangingPunct="1">
              <a:lnSpc>
                <a:spcPct val="100000"/>
              </a:lnSpc>
              <a:spcBef>
                <a:spcPts val="0"/>
              </a:spcBef>
              <a:buNone/>
              <a:defRPr lang="en-US" sz="1400" b="1" kern="1200" dirty="0">
                <a:solidFill>
                  <a:schemeClr val="bg1"/>
                </a:solidFill>
                <a:latin typeface="Arial" panose="020B0604020202020204" pitchFamily="34" charset="0"/>
                <a:ea typeface="Open Sans" panose="020B0606030504020204" pitchFamily="34" charset="0"/>
                <a:cs typeface="Arial" panose="020B0604020202020204" pitchFamily="34" charset="0"/>
              </a:defRPr>
            </a:lvl1pPr>
            <a:lvl5pPr>
              <a:defRPr/>
            </a:lvl5pPr>
          </a:lstStyle>
          <a:p>
            <a:pPr lvl="0"/>
            <a:r>
              <a:rPr lang="en-US" dirty="0"/>
              <a:t>Icon</a:t>
            </a:r>
          </a:p>
        </p:txBody>
      </p:sp>
    </p:spTree>
    <p:extLst>
      <p:ext uri="{BB962C8B-B14F-4D97-AF65-F5344CB8AC3E}">
        <p14:creationId xmlns:p14="http://schemas.microsoft.com/office/powerpoint/2010/main" val="3917112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2" name="Rectangle 1"/>
          <p:cNvSpPr/>
          <p:nvPr userDrawn="1"/>
        </p:nvSpPr>
        <p:spPr>
          <a:xfrm>
            <a:off x="0" y="655320"/>
            <a:ext cx="9657198" cy="5547360"/>
          </a:xfrm>
          <a:prstGeom prst="rect">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7" name="Content Placeholder 59"/>
          <p:cNvSpPr>
            <a:spLocks noGrp="1"/>
          </p:cNvSpPr>
          <p:nvPr>
            <p:ph sz="quarter" idx="10" hasCustomPrompt="1"/>
          </p:nvPr>
        </p:nvSpPr>
        <p:spPr>
          <a:xfrm>
            <a:off x="648706" y="1949533"/>
            <a:ext cx="5673576" cy="914400"/>
          </a:xfrm>
        </p:spPr>
        <p:txBody>
          <a:bodyPr anchor="ctr">
            <a:noAutofit/>
          </a:bodyPr>
          <a:lstStyle>
            <a:lvl1pPr marL="0" indent="0">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Cover page title</a:t>
            </a:r>
          </a:p>
        </p:txBody>
      </p:sp>
      <p:sp>
        <p:nvSpPr>
          <p:cNvPr id="29" name="Content Placeholder 59"/>
          <p:cNvSpPr>
            <a:spLocks noGrp="1"/>
          </p:cNvSpPr>
          <p:nvPr>
            <p:ph sz="quarter" idx="12" hasCustomPrompt="1"/>
          </p:nvPr>
        </p:nvSpPr>
        <p:spPr>
          <a:xfrm>
            <a:off x="648706" y="3146328"/>
            <a:ext cx="4254313" cy="457200"/>
          </a:xfrm>
        </p:spPr>
        <p:txBody>
          <a:bodyPr anchor="ctr">
            <a:noAutofit/>
          </a:bodyPr>
          <a:lstStyle>
            <a:lvl1pPr marL="0" indent="0">
              <a:buNone/>
              <a:defRPr sz="2000">
                <a:solidFill>
                  <a:schemeClr val="bg1"/>
                </a:solidFill>
                <a:effectLst/>
                <a:latin typeface="Arial" panose="020B0604020202020204" pitchFamily="34" charset="0"/>
                <a:cs typeface="Arial" panose="020B0604020202020204" pitchFamily="34" charset="0"/>
              </a:defRPr>
            </a:lvl1pPr>
          </a:lstStyle>
          <a:p>
            <a:pPr lvl="0"/>
            <a:r>
              <a:rPr lang="en-US" dirty="0"/>
              <a:t>Presenter Name</a:t>
            </a:r>
          </a:p>
        </p:txBody>
      </p:sp>
      <p:sp>
        <p:nvSpPr>
          <p:cNvPr id="28" name="Content Placeholder 59"/>
          <p:cNvSpPr>
            <a:spLocks noGrp="1"/>
          </p:cNvSpPr>
          <p:nvPr>
            <p:ph sz="quarter" idx="11" hasCustomPrompt="1"/>
          </p:nvPr>
        </p:nvSpPr>
        <p:spPr>
          <a:xfrm>
            <a:off x="648706" y="3885923"/>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esignation</a:t>
            </a:r>
          </a:p>
        </p:txBody>
      </p:sp>
      <p:sp>
        <p:nvSpPr>
          <p:cNvPr id="11" name="Rectangle 10"/>
          <p:cNvSpPr/>
          <p:nvPr userDrawn="1"/>
        </p:nvSpPr>
        <p:spPr>
          <a:xfrm>
            <a:off x="9657199" y="655320"/>
            <a:ext cx="2534801" cy="5547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cs typeface="Arial" panose="020B0604020202020204" pitchFamily="34" charset="0"/>
            </a:endParaRPr>
          </a:p>
        </p:txBody>
      </p:sp>
      <p:pic>
        <p:nvPicPr>
          <p:cNvPr id="30" name="Picture 29">
            <a:extLst>
              <a:ext uri="{FF2B5EF4-FFF2-40B4-BE49-F238E27FC236}">
                <a16:creationId xmlns:a16="http://schemas.microsoft.com/office/drawing/2014/main" id="{CDD35920-50C1-4782-9856-992F26942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57198" y="4697844"/>
            <a:ext cx="2231270" cy="1577764"/>
          </a:xfrm>
          <a:prstGeom prst="rect">
            <a:avLst/>
          </a:prstGeom>
        </p:spPr>
      </p:pic>
      <p:sp>
        <p:nvSpPr>
          <p:cNvPr id="10" name="Content Placeholder 59"/>
          <p:cNvSpPr>
            <a:spLocks noGrp="1"/>
          </p:cNvSpPr>
          <p:nvPr>
            <p:ph sz="quarter" idx="13" hasCustomPrompt="1"/>
          </p:nvPr>
        </p:nvSpPr>
        <p:spPr>
          <a:xfrm>
            <a:off x="648706" y="4595275"/>
            <a:ext cx="2637248" cy="426958"/>
          </a:xfrm>
        </p:spPr>
        <p:txBody>
          <a:bodyPr anchor="ctr">
            <a:noAutofit/>
          </a:bodyPr>
          <a:lstStyle>
            <a:lvl1pPr marL="0" indent="0">
              <a:buNone/>
              <a:defRPr sz="1600">
                <a:solidFill>
                  <a:schemeClr val="bg1"/>
                </a:solidFill>
                <a:effectLst/>
                <a:latin typeface="Arial" panose="020B0604020202020204" pitchFamily="34" charset="0"/>
                <a:cs typeface="Arial" panose="020B0604020202020204" pitchFamily="34" charset="0"/>
              </a:defRPr>
            </a:lvl1pPr>
          </a:lstStyle>
          <a:p>
            <a:pPr lvl="0"/>
            <a:r>
              <a:rPr lang="en-US" dirty="0"/>
              <a:t>Date</a:t>
            </a:r>
          </a:p>
        </p:txBody>
      </p:sp>
    </p:spTree>
    <p:extLst>
      <p:ext uri="{BB962C8B-B14F-4D97-AF65-F5344CB8AC3E}">
        <p14:creationId xmlns:p14="http://schemas.microsoft.com/office/powerpoint/2010/main" val="2024079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pic>
        <p:nvPicPr>
          <p:cNvPr id="62" name="pasted-image.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710" y="4484"/>
            <a:ext cx="6215310" cy="6853516"/>
          </a:xfrm>
          <a:prstGeom prst="rect">
            <a:avLst/>
          </a:prstGeom>
          <a:ln w="12700">
            <a:miter lim="400000"/>
          </a:ln>
        </p:spPr>
      </p:pic>
      <p:sp>
        <p:nvSpPr>
          <p:cNvPr id="63" name="Rectangle 62"/>
          <p:cNvSpPr/>
          <p:nvPr userDrawn="1"/>
        </p:nvSpPr>
        <p:spPr>
          <a:xfrm>
            <a:off x="0" y="-13853"/>
            <a:ext cx="6215310" cy="6871853"/>
          </a:xfrm>
          <a:prstGeom prst="rect">
            <a:avLst/>
          </a:prstGeom>
          <a:solidFill>
            <a:schemeClr val="accent2">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67" name="Pentagon 66"/>
          <p:cNvSpPr/>
          <p:nvPr userDrawn="1"/>
        </p:nvSpPr>
        <p:spPr>
          <a:xfrm>
            <a:off x="6212314" y="578981"/>
            <a:ext cx="1185657" cy="641298"/>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2" name="Pentagon 71"/>
          <p:cNvSpPr/>
          <p:nvPr userDrawn="1"/>
        </p:nvSpPr>
        <p:spPr>
          <a:xfrm>
            <a:off x="6212314" y="1954531"/>
            <a:ext cx="1169399" cy="632502"/>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77" name="Pentagon 76"/>
          <p:cNvSpPr/>
          <p:nvPr userDrawn="1"/>
        </p:nvSpPr>
        <p:spPr>
          <a:xfrm>
            <a:off x="6212314" y="3321285"/>
            <a:ext cx="1169399" cy="632502"/>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81" name="Pentagon 80"/>
          <p:cNvSpPr/>
          <p:nvPr userDrawn="1"/>
        </p:nvSpPr>
        <p:spPr>
          <a:xfrm>
            <a:off x="6212314" y="4688038"/>
            <a:ext cx="1169399" cy="63250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1" name="Content Placeholder 10"/>
          <p:cNvSpPr>
            <a:spLocks noGrp="1"/>
          </p:cNvSpPr>
          <p:nvPr>
            <p:ph sz="quarter" idx="10" hasCustomPrompt="1"/>
          </p:nvPr>
        </p:nvSpPr>
        <p:spPr>
          <a:xfrm>
            <a:off x="1324396" y="2964873"/>
            <a:ext cx="3591716" cy="914401"/>
          </a:xfrm>
        </p:spPr>
        <p:txBody>
          <a:bodyPr anchor="ct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5pPr>
              <a:defRPr/>
            </a:lvl5pPr>
          </a:lstStyle>
          <a:p>
            <a:pPr lvl="0"/>
            <a:r>
              <a:rPr lang="en-US" dirty="0"/>
              <a:t>Agenda</a:t>
            </a:r>
          </a:p>
        </p:txBody>
      </p:sp>
      <p:sp>
        <p:nvSpPr>
          <p:cNvPr id="84" name="Content Placeholder 10"/>
          <p:cNvSpPr>
            <a:spLocks noGrp="1"/>
          </p:cNvSpPr>
          <p:nvPr>
            <p:ph sz="quarter" idx="11" hasCustomPrompt="1"/>
          </p:nvPr>
        </p:nvSpPr>
        <p:spPr>
          <a:xfrm>
            <a:off x="7750522" y="587306"/>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85" name="Content Placeholder 10"/>
          <p:cNvSpPr>
            <a:spLocks noGrp="1"/>
          </p:cNvSpPr>
          <p:nvPr>
            <p:ph sz="quarter" idx="12" hasCustomPrompt="1"/>
          </p:nvPr>
        </p:nvSpPr>
        <p:spPr>
          <a:xfrm>
            <a:off x="6439087" y="723900"/>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1</a:t>
            </a:r>
          </a:p>
        </p:txBody>
      </p:sp>
      <p:sp>
        <p:nvSpPr>
          <p:cNvPr id="86" name="Content Placeholder 10"/>
          <p:cNvSpPr>
            <a:spLocks noGrp="1"/>
          </p:cNvSpPr>
          <p:nvPr>
            <p:ph sz="quarter" idx="13" hasCustomPrompt="1"/>
          </p:nvPr>
        </p:nvSpPr>
        <p:spPr>
          <a:xfrm>
            <a:off x="6425439" y="2095052"/>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2</a:t>
            </a:r>
          </a:p>
        </p:txBody>
      </p:sp>
      <p:sp>
        <p:nvSpPr>
          <p:cNvPr id="87" name="Content Placeholder 10"/>
          <p:cNvSpPr>
            <a:spLocks noGrp="1"/>
          </p:cNvSpPr>
          <p:nvPr>
            <p:ph sz="quarter" idx="14" hasCustomPrompt="1"/>
          </p:nvPr>
        </p:nvSpPr>
        <p:spPr>
          <a:xfrm>
            <a:off x="6425439" y="3461806"/>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3</a:t>
            </a:r>
          </a:p>
        </p:txBody>
      </p:sp>
      <p:sp>
        <p:nvSpPr>
          <p:cNvPr id="88" name="Content Placeholder 10"/>
          <p:cNvSpPr>
            <a:spLocks noGrp="1"/>
          </p:cNvSpPr>
          <p:nvPr>
            <p:ph sz="quarter" idx="15" hasCustomPrompt="1"/>
          </p:nvPr>
        </p:nvSpPr>
        <p:spPr>
          <a:xfrm>
            <a:off x="6425439" y="4828559"/>
            <a:ext cx="525798" cy="351460"/>
          </a:xfrm>
        </p:spPr>
        <p:txBody>
          <a:bodyPr anchor="ctr">
            <a:noAutofit/>
          </a:bodyPr>
          <a:lstStyle>
            <a:lvl1pPr marL="0" indent="0" algn="ctr">
              <a:buNone/>
              <a:defRPr sz="2400" b="1">
                <a:solidFill>
                  <a:schemeClr val="bg1"/>
                </a:solidFill>
                <a:latin typeface="Arial" panose="020B0604020202020204" pitchFamily="34" charset="0"/>
                <a:cs typeface="Arial" panose="020B0604020202020204" pitchFamily="34" charset="0"/>
              </a:defRPr>
            </a:lvl1pPr>
            <a:lvl5pPr>
              <a:defRPr/>
            </a:lvl5pPr>
          </a:lstStyle>
          <a:p>
            <a:pPr lvl="0"/>
            <a:r>
              <a:rPr lang="en-US" dirty="0"/>
              <a:t>04</a:t>
            </a:r>
          </a:p>
        </p:txBody>
      </p:sp>
      <p:sp>
        <p:nvSpPr>
          <p:cNvPr id="89" name="Content Placeholder 10"/>
          <p:cNvSpPr>
            <a:spLocks noGrp="1"/>
          </p:cNvSpPr>
          <p:nvPr>
            <p:ph sz="quarter" idx="16" hasCustomPrompt="1"/>
          </p:nvPr>
        </p:nvSpPr>
        <p:spPr>
          <a:xfrm>
            <a:off x="7736874" y="1958458"/>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1" name="Content Placeholder 10"/>
          <p:cNvSpPr>
            <a:spLocks noGrp="1"/>
          </p:cNvSpPr>
          <p:nvPr>
            <p:ph sz="quarter" idx="17" hasCustomPrompt="1"/>
          </p:nvPr>
        </p:nvSpPr>
        <p:spPr>
          <a:xfrm>
            <a:off x="7736874" y="332521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92" name="Content Placeholder 10"/>
          <p:cNvSpPr>
            <a:spLocks noGrp="1"/>
          </p:cNvSpPr>
          <p:nvPr>
            <p:ph sz="quarter" idx="18" hasCustomPrompt="1"/>
          </p:nvPr>
        </p:nvSpPr>
        <p:spPr>
          <a:xfrm>
            <a:off x="7736874" y="4691965"/>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18" name="Rectangle: Rounded Corners 17">
            <a:extLst>
              <a:ext uri="{FF2B5EF4-FFF2-40B4-BE49-F238E27FC236}">
                <a16:creationId xmlns:a16="http://schemas.microsoft.com/office/drawing/2014/main" id="{89097DD5-8847-43DE-B3AE-BE5A64A94902}"/>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pic>
        <p:nvPicPr>
          <p:cNvPr id="19" name="Picture 18">
            <a:extLst>
              <a:ext uri="{FF2B5EF4-FFF2-40B4-BE49-F238E27FC236}">
                <a16:creationId xmlns:a16="http://schemas.microsoft.com/office/drawing/2014/main" id="{ED0CB488-30EA-4015-9174-1E0A80F1A15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3035395883"/>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breaker">
    <p:bg>
      <p:bgPr>
        <a:solidFill>
          <a:schemeClr val="bg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CDD35920-50C1-4782-9856-992F269421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20279" y="5128616"/>
            <a:ext cx="2559043" cy="1809537"/>
          </a:xfrm>
          <a:prstGeom prst="rect">
            <a:avLst/>
          </a:prstGeom>
        </p:spPr>
      </p:pic>
      <p:sp>
        <p:nvSpPr>
          <p:cNvPr id="7" name="Freeform: Shape 6"/>
          <p:cNvSpPr/>
          <p:nvPr userDrawn="1"/>
        </p:nvSpPr>
        <p:spPr>
          <a:xfrm flipH="1">
            <a:off x="0" y="2034284"/>
            <a:ext cx="12192000" cy="1570232"/>
          </a:xfrm>
          <a:custGeom>
            <a:avLst/>
            <a:gdLst>
              <a:gd name="connsiteX0" fmla="*/ 0 w 12192000"/>
              <a:gd name="connsiteY0" fmla="*/ 0 h 1570232"/>
              <a:gd name="connsiteX1" fmla="*/ 10058950 w 12192000"/>
              <a:gd name="connsiteY1" fmla="*/ 0 h 1570232"/>
              <a:gd name="connsiteX2" fmla="*/ 10062651 w 12192000"/>
              <a:gd name="connsiteY2" fmla="*/ 36710 h 1570232"/>
              <a:gd name="connsiteX3" fmla="*/ 10842373 w 12192000"/>
              <a:gd name="connsiteY3" fmla="*/ 672200 h 1570232"/>
              <a:gd name="connsiteX4" fmla="*/ 11622095 w 12192000"/>
              <a:gd name="connsiteY4" fmla="*/ 36710 h 1570232"/>
              <a:gd name="connsiteX5" fmla="*/ 11625796 w 12192000"/>
              <a:gd name="connsiteY5" fmla="*/ 0 h 1570232"/>
              <a:gd name="connsiteX6" fmla="*/ 12192000 w 12192000"/>
              <a:gd name="connsiteY6" fmla="*/ 0 h 1570232"/>
              <a:gd name="connsiteX7" fmla="*/ 12192000 w 12192000"/>
              <a:gd name="connsiteY7" fmla="*/ 1570232 h 1570232"/>
              <a:gd name="connsiteX8" fmla="*/ 0 w 12192000"/>
              <a:gd name="connsiteY8" fmla="*/ 1570232 h 157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1570232">
                <a:moveTo>
                  <a:pt x="0" y="0"/>
                </a:moveTo>
                <a:lnTo>
                  <a:pt x="10058950" y="0"/>
                </a:lnTo>
                <a:lnTo>
                  <a:pt x="10062651" y="36710"/>
                </a:lnTo>
                <a:cubicBezTo>
                  <a:pt x="10136865" y="399383"/>
                  <a:pt x="10457759" y="672200"/>
                  <a:pt x="10842373" y="672200"/>
                </a:cubicBezTo>
                <a:cubicBezTo>
                  <a:pt x="11226987" y="672200"/>
                  <a:pt x="11547881" y="399383"/>
                  <a:pt x="11622095" y="36710"/>
                </a:cubicBezTo>
                <a:lnTo>
                  <a:pt x="11625796" y="0"/>
                </a:lnTo>
                <a:lnTo>
                  <a:pt x="12192000" y="0"/>
                </a:lnTo>
                <a:lnTo>
                  <a:pt x="12192000" y="1570232"/>
                </a:lnTo>
                <a:lnTo>
                  <a:pt x="0" y="1570232"/>
                </a:lnTo>
                <a:close/>
              </a:path>
            </a:pathLst>
          </a:cu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Oval 7"/>
          <p:cNvSpPr/>
          <p:nvPr userDrawn="1"/>
        </p:nvSpPr>
        <p:spPr>
          <a:xfrm flipH="1">
            <a:off x="711199" y="1272168"/>
            <a:ext cx="1276856" cy="1276852"/>
          </a:xfrm>
          <a:prstGeom prst="ellipse">
            <a:avLst/>
          </a:prstGeom>
          <a:gradFill>
            <a:gsLst>
              <a:gs pos="0">
                <a:srgbClr val="052049"/>
              </a:gs>
              <a:gs pos="73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Content Placeholder 59"/>
          <p:cNvSpPr>
            <a:spLocks noGrp="1"/>
          </p:cNvSpPr>
          <p:nvPr>
            <p:ph sz="quarter" idx="10" hasCustomPrompt="1"/>
          </p:nvPr>
        </p:nvSpPr>
        <p:spPr>
          <a:xfrm>
            <a:off x="3259212" y="2362200"/>
            <a:ext cx="5673576" cy="914400"/>
          </a:xfrm>
        </p:spPr>
        <p:txBody>
          <a:bodyPr anchor="ctr">
            <a:noAutofit/>
          </a:bodyPr>
          <a:lstStyle>
            <a:lvl1pPr marL="0" indent="0" algn="ctr">
              <a:buNone/>
              <a:defRPr sz="3200">
                <a:solidFill>
                  <a:schemeClr val="bg1"/>
                </a:solidFill>
                <a:effectLst/>
                <a:latin typeface="Arial" panose="020B0604020202020204" pitchFamily="34" charset="0"/>
                <a:cs typeface="Arial" panose="020B0604020202020204" pitchFamily="34" charset="0"/>
              </a:defRPr>
            </a:lvl1pPr>
          </a:lstStyle>
          <a:p>
            <a:pPr lvl="0"/>
            <a:r>
              <a:rPr lang="en-US" dirty="0"/>
              <a:t>Section Header</a:t>
            </a:r>
          </a:p>
        </p:txBody>
      </p:sp>
      <p:grpSp>
        <p:nvGrpSpPr>
          <p:cNvPr id="4" name="Group 4"/>
          <p:cNvGrpSpPr>
            <a:grpSpLocks noChangeAspect="1"/>
          </p:cNvGrpSpPr>
          <p:nvPr userDrawn="1"/>
        </p:nvGrpSpPr>
        <p:grpSpPr bwMode="auto">
          <a:xfrm>
            <a:off x="892045" y="1597544"/>
            <a:ext cx="915165" cy="626101"/>
            <a:chOff x="1322" y="702"/>
            <a:chExt cx="744" cy="509"/>
          </a:xfrm>
          <a:solidFill>
            <a:schemeClr val="bg1"/>
          </a:solidFill>
        </p:grpSpPr>
        <p:sp>
          <p:nvSpPr>
            <p:cNvPr id="9" name="Freeform 6"/>
            <p:cNvSpPr>
              <a:spLocks noEditPoints="1"/>
            </p:cNvSpPr>
            <p:nvPr userDrawn="1"/>
          </p:nvSpPr>
          <p:spPr bwMode="auto">
            <a:xfrm>
              <a:off x="1802" y="886"/>
              <a:ext cx="96" cy="103"/>
            </a:xfrm>
            <a:custGeom>
              <a:avLst/>
              <a:gdLst>
                <a:gd name="T0" fmla="*/ 208 w 478"/>
                <a:gd name="T1" fmla="*/ 245 h 518"/>
                <a:gd name="T2" fmla="*/ 166 w 478"/>
                <a:gd name="T3" fmla="*/ 266 h 518"/>
                <a:gd name="T4" fmla="*/ 136 w 478"/>
                <a:gd name="T5" fmla="*/ 303 h 518"/>
                <a:gd name="T6" fmla="*/ 125 w 478"/>
                <a:gd name="T7" fmla="*/ 350 h 518"/>
                <a:gd name="T8" fmla="*/ 136 w 478"/>
                <a:gd name="T9" fmla="*/ 398 h 518"/>
                <a:gd name="T10" fmla="*/ 166 w 478"/>
                <a:gd name="T11" fmla="*/ 435 h 518"/>
                <a:gd name="T12" fmla="*/ 208 w 478"/>
                <a:gd name="T13" fmla="*/ 455 h 518"/>
                <a:gd name="T14" fmla="*/ 257 w 478"/>
                <a:gd name="T15" fmla="*/ 455 h 518"/>
                <a:gd name="T16" fmla="*/ 300 w 478"/>
                <a:gd name="T17" fmla="*/ 435 h 518"/>
                <a:gd name="T18" fmla="*/ 330 w 478"/>
                <a:gd name="T19" fmla="*/ 398 h 518"/>
                <a:gd name="T20" fmla="*/ 340 w 478"/>
                <a:gd name="T21" fmla="*/ 350 h 518"/>
                <a:gd name="T22" fmla="*/ 330 w 478"/>
                <a:gd name="T23" fmla="*/ 303 h 518"/>
                <a:gd name="T24" fmla="*/ 300 w 478"/>
                <a:gd name="T25" fmla="*/ 266 h 518"/>
                <a:gd name="T26" fmla="*/ 257 w 478"/>
                <a:gd name="T27" fmla="*/ 245 h 518"/>
                <a:gd name="T28" fmla="*/ 81 w 478"/>
                <a:gd name="T29" fmla="*/ 0 h 518"/>
                <a:gd name="T30" fmla="*/ 209 w 478"/>
                <a:gd name="T31" fmla="*/ 184 h 518"/>
                <a:gd name="T32" fmla="*/ 256 w 478"/>
                <a:gd name="T33" fmla="*/ 184 h 518"/>
                <a:gd name="T34" fmla="*/ 299 w 478"/>
                <a:gd name="T35" fmla="*/ 196 h 518"/>
                <a:gd name="T36" fmla="*/ 443 w 478"/>
                <a:gd name="T37" fmla="*/ 49 h 518"/>
                <a:gd name="T38" fmla="*/ 369 w 478"/>
                <a:gd name="T39" fmla="*/ 254 h 518"/>
                <a:gd name="T40" fmla="*/ 392 w 478"/>
                <a:gd name="T41" fmla="*/ 298 h 518"/>
                <a:gd name="T42" fmla="*/ 400 w 478"/>
                <a:gd name="T43" fmla="*/ 350 h 518"/>
                <a:gd name="T44" fmla="*/ 386 w 478"/>
                <a:gd name="T45" fmla="*/ 415 h 518"/>
                <a:gd name="T46" fmla="*/ 351 w 478"/>
                <a:gd name="T47" fmla="*/ 469 h 518"/>
                <a:gd name="T48" fmla="*/ 298 w 478"/>
                <a:gd name="T49" fmla="*/ 506 h 518"/>
                <a:gd name="T50" fmla="*/ 233 w 478"/>
                <a:gd name="T51" fmla="*/ 518 h 518"/>
                <a:gd name="T52" fmla="*/ 168 w 478"/>
                <a:gd name="T53" fmla="*/ 506 h 518"/>
                <a:gd name="T54" fmla="*/ 115 w 478"/>
                <a:gd name="T55" fmla="*/ 469 h 518"/>
                <a:gd name="T56" fmla="*/ 78 w 478"/>
                <a:gd name="T57" fmla="*/ 415 h 518"/>
                <a:gd name="T58" fmla="*/ 66 w 478"/>
                <a:gd name="T59" fmla="*/ 350 h 518"/>
                <a:gd name="T60" fmla="*/ 77 w 478"/>
                <a:gd name="T61" fmla="*/ 289 h 518"/>
                <a:gd name="T62" fmla="*/ 108 w 478"/>
                <a:gd name="T63" fmla="*/ 238 h 518"/>
                <a:gd name="T64" fmla="*/ 40 w 478"/>
                <a:gd name="T65" fmla="*/ 1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8" h="518">
                  <a:moveTo>
                    <a:pt x="233" y="242"/>
                  </a:moveTo>
                  <a:lnTo>
                    <a:pt x="208" y="245"/>
                  </a:lnTo>
                  <a:lnTo>
                    <a:pt x="185" y="253"/>
                  </a:lnTo>
                  <a:lnTo>
                    <a:pt x="166" y="266"/>
                  </a:lnTo>
                  <a:lnTo>
                    <a:pt x="149" y="282"/>
                  </a:lnTo>
                  <a:lnTo>
                    <a:pt x="136" y="303"/>
                  </a:lnTo>
                  <a:lnTo>
                    <a:pt x="128" y="326"/>
                  </a:lnTo>
                  <a:lnTo>
                    <a:pt x="125" y="350"/>
                  </a:lnTo>
                  <a:lnTo>
                    <a:pt x="128" y="375"/>
                  </a:lnTo>
                  <a:lnTo>
                    <a:pt x="136" y="398"/>
                  </a:lnTo>
                  <a:lnTo>
                    <a:pt x="149" y="417"/>
                  </a:lnTo>
                  <a:lnTo>
                    <a:pt x="166" y="435"/>
                  </a:lnTo>
                  <a:lnTo>
                    <a:pt x="185" y="447"/>
                  </a:lnTo>
                  <a:lnTo>
                    <a:pt x="208" y="455"/>
                  </a:lnTo>
                  <a:lnTo>
                    <a:pt x="233" y="459"/>
                  </a:lnTo>
                  <a:lnTo>
                    <a:pt x="257" y="455"/>
                  </a:lnTo>
                  <a:lnTo>
                    <a:pt x="280" y="447"/>
                  </a:lnTo>
                  <a:lnTo>
                    <a:pt x="300" y="435"/>
                  </a:lnTo>
                  <a:lnTo>
                    <a:pt x="316" y="417"/>
                  </a:lnTo>
                  <a:lnTo>
                    <a:pt x="330" y="398"/>
                  </a:lnTo>
                  <a:lnTo>
                    <a:pt x="338" y="375"/>
                  </a:lnTo>
                  <a:lnTo>
                    <a:pt x="340" y="350"/>
                  </a:lnTo>
                  <a:lnTo>
                    <a:pt x="338" y="326"/>
                  </a:lnTo>
                  <a:lnTo>
                    <a:pt x="330" y="303"/>
                  </a:lnTo>
                  <a:lnTo>
                    <a:pt x="316" y="282"/>
                  </a:lnTo>
                  <a:lnTo>
                    <a:pt x="300" y="266"/>
                  </a:lnTo>
                  <a:lnTo>
                    <a:pt x="280" y="253"/>
                  </a:lnTo>
                  <a:lnTo>
                    <a:pt x="257" y="245"/>
                  </a:lnTo>
                  <a:lnTo>
                    <a:pt x="233" y="242"/>
                  </a:lnTo>
                  <a:close/>
                  <a:moveTo>
                    <a:pt x="81" y="0"/>
                  </a:moveTo>
                  <a:lnTo>
                    <a:pt x="185" y="189"/>
                  </a:lnTo>
                  <a:lnTo>
                    <a:pt x="209" y="184"/>
                  </a:lnTo>
                  <a:lnTo>
                    <a:pt x="233" y="182"/>
                  </a:lnTo>
                  <a:lnTo>
                    <a:pt x="256" y="184"/>
                  </a:lnTo>
                  <a:lnTo>
                    <a:pt x="278" y="189"/>
                  </a:lnTo>
                  <a:lnTo>
                    <a:pt x="299" y="196"/>
                  </a:lnTo>
                  <a:lnTo>
                    <a:pt x="406" y="23"/>
                  </a:lnTo>
                  <a:lnTo>
                    <a:pt x="443" y="49"/>
                  </a:lnTo>
                  <a:lnTo>
                    <a:pt x="478" y="79"/>
                  </a:lnTo>
                  <a:lnTo>
                    <a:pt x="369" y="254"/>
                  </a:lnTo>
                  <a:lnTo>
                    <a:pt x="383" y="276"/>
                  </a:lnTo>
                  <a:lnTo>
                    <a:pt x="392" y="298"/>
                  </a:lnTo>
                  <a:lnTo>
                    <a:pt x="398" y="324"/>
                  </a:lnTo>
                  <a:lnTo>
                    <a:pt x="400" y="350"/>
                  </a:lnTo>
                  <a:lnTo>
                    <a:pt x="397" y="384"/>
                  </a:lnTo>
                  <a:lnTo>
                    <a:pt x="386" y="415"/>
                  </a:lnTo>
                  <a:lnTo>
                    <a:pt x="372" y="444"/>
                  </a:lnTo>
                  <a:lnTo>
                    <a:pt x="351" y="469"/>
                  </a:lnTo>
                  <a:lnTo>
                    <a:pt x="326" y="490"/>
                  </a:lnTo>
                  <a:lnTo>
                    <a:pt x="298" y="506"/>
                  </a:lnTo>
                  <a:lnTo>
                    <a:pt x="266" y="515"/>
                  </a:lnTo>
                  <a:lnTo>
                    <a:pt x="233" y="518"/>
                  </a:lnTo>
                  <a:lnTo>
                    <a:pt x="199" y="515"/>
                  </a:lnTo>
                  <a:lnTo>
                    <a:pt x="168" y="506"/>
                  </a:lnTo>
                  <a:lnTo>
                    <a:pt x="140" y="490"/>
                  </a:lnTo>
                  <a:lnTo>
                    <a:pt x="115" y="469"/>
                  </a:lnTo>
                  <a:lnTo>
                    <a:pt x="94" y="444"/>
                  </a:lnTo>
                  <a:lnTo>
                    <a:pt x="78" y="415"/>
                  </a:lnTo>
                  <a:lnTo>
                    <a:pt x="69" y="384"/>
                  </a:lnTo>
                  <a:lnTo>
                    <a:pt x="66" y="350"/>
                  </a:lnTo>
                  <a:lnTo>
                    <a:pt x="68" y="319"/>
                  </a:lnTo>
                  <a:lnTo>
                    <a:pt x="77" y="289"/>
                  </a:lnTo>
                  <a:lnTo>
                    <a:pt x="91" y="262"/>
                  </a:lnTo>
                  <a:lnTo>
                    <a:pt x="108" y="238"/>
                  </a:lnTo>
                  <a:lnTo>
                    <a:pt x="0" y="43"/>
                  </a:lnTo>
                  <a:lnTo>
                    <a:pt x="40" y="18"/>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0" name="Freeform 7"/>
            <p:cNvSpPr>
              <a:spLocks noEditPoints="1"/>
            </p:cNvSpPr>
            <p:nvPr userDrawn="1"/>
          </p:nvSpPr>
          <p:spPr bwMode="auto">
            <a:xfrm>
              <a:off x="1909" y="702"/>
              <a:ext cx="114" cy="157"/>
            </a:xfrm>
            <a:custGeom>
              <a:avLst/>
              <a:gdLst>
                <a:gd name="T0" fmla="*/ 379 w 569"/>
                <a:gd name="T1" fmla="*/ 63 h 787"/>
                <a:gd name="T2" fmla="*/ 335 w 569"/>
                <a:gd name="T3" fmla="*/ 85 h 787"/>
                <a:gd name="T4" fmla="*/ 306 w 569"/>
                <a:gd name="T5" fmla="*/ 121 h 787"/>
                <a:gd name="T6" fmla="*/ 296 w 569"/>
                <a:gd name="T7" fmla="*/ 168 h 787"/>
                <a:gd name="T8" fmla="*/ 306 w 569"/>
                <a:gd name="T9" fmla="*/ 216 h 787"/>
                <a:gd name="T10" fmla="*/ 335 w 569"/>
                <a:gd name="T11" fmla="*/ 253 h 787"/>
                <a:gd name="T12" fmla="*/ 379 w 569"/>
                <a:gd name="T13" fmla="*/ 274 h 787"/>
                <a:gd name="T14" fmla="*/ 427 w 569"/>
                <a:gd name="T15" fmla="*/ 274 h 787"/>
                <a:gd name="T16" fmla="*/ 469 w 569"/>
                <a:gd name="T17" fmla="*/ 253 h 787"/>
                <a:gd name="T18" fmla="*/ 499 w 569"/>
                <a:gd name="T19" fmla="*/ 216 h 787"/>
                <a:gd name="T20" fmla="*/ 510 w 569"/>
                <a:gd name="T21" fmla="*/ 168 h 787"/>
                <a:gd name="T22" fmla="*/ 499 w 569"/>
                <a:gd name="T23" fmla="*/ 121 h 787"/>
                <a:gd name="T24" fmla="*/ 469 w 569"/>
                <a:gd name="T25" fmla="*/ 85 h 787"/>
                <a:gd name="T26" fmla="*/ 427 w 569"/>
                <a:gd name="T27" fmla="*/ 63 h 787"/>
                <a:gd name="T28" fmla="*/ 402 w 569"/>
                <a:gd name="T29" fmla="*/ 0 h 787"/>
                <a:gd name="T30" fmla="*/ 467 w 569"/>
                <a:gd name="T31" fmla="*/ 14 h 787"/>
                <a:gd name="T32" fmla="*/ 521 w 569"/>
                <a:gd name="T33" fmla="*/ 49 h 787"/>
                <a:gd name="T34" fmla="*/ 557 w 569"/>
                <a:gd name="T35" fmla="*/ 103 h 787"/>
                <a:gd name="T36" fmla="*/ 569 w 569"/>
                <a:gd name="T37" fmla="*/ 168 h 787"/>
                <a:gd name="T38" fmla="*/ 557 w 569"/>
                <a:gd name="T39" fmla="*/ 233 h 787"/>
                <a:gd name="T40" fmla="*/ 521 w 569"/>
                <a:gd name="T41" fmla="*/ 287 h 787"/>
                <a:gd name="T42" fmla="*/ 467 w 569"/>
                <a:gd name="T43" fmla="*/ 324 h 787"/>
                <a:gd name="T44" fmla="*/ 402 w 569"/>
                <a:gd name="T45" fmla="*/ 336 h 787"/>
                <a:gd name="T46" fmla="*/ 356 w 569"/>
                <a:gd name="T47" fmla="*/ 331 h 787"/>
                <a:gd name="T48" fmla="*/ 38 w 569"/>
                <a:gd name="T49" fmla="*/ 760 h 787"/>
                <a:gd name="T50" fmla="*/ 280 w 569"/>
                <a:gd name="T51" fmla="*/ 282 h 787"/>
                <a:gd name="T52" fmla="*/ 247 w 569"/>
                <a:gd name="T53" fmla="*/ 230 h 787"/>
                <a:gd name="T54" fmla="*/ 235 w 569"/>
                <a:gd name="T55" fmla="*/ 168 h 787"/>
                <a:gd name="T56" fmla="*/ 249 w 569"/>
                <a:gd name="T57" fmla="*/ 103 h 787"/>
                <a:gd name="T58" fmla="*/ 284 w 569"/>
                <a:gd name="T59" fmla="*/ 49 h 787"/>
                <a:gd name="T60" fmla="*/ 338 w 569"/>
                <a:gd name="T61" fmla="*/ 14 h 787"/>
                <a:gd name="T62" fmla="*/ 402 w 569"/>
                <a:gd name="T63" fmla="*/ 0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9" h="787">
                  <a:moveTo>
                    <a:pt x="402" y="61"/>
                  </a:moveTo>
                  <a:lnTo>
                    <a:pt x="379" y="63"/>
                  </a:lnTo>
                  <a:lnTo>
                    <a:pt x="356" y="72"/>
                  </a:lnTo>
                  <a:lnTo>
                    <a:pt x="335" y="85"/>
                  </a:lnTo>
                  <a:lnTo>
                    <a:pt x="318" y="101"/>
                  </a:lnTo>
                  <a:lnTo>
                    <a:pt x="306" y="121"/>
                  </a:lnTo>
                  <a:lnTo>
                    <a:pt x="298" y="144"/>
                  </a:lnTo>
                  <a:lnTo>
                    <a:pt x="296" y="168"/>
                  </a:lnTo>
                  <a:lnTo>
                    <a:pt x="298" y="193"/>
                  </a:lnTo>
                  <a:lnTo>
                    <a:pt x="306" y="216"/>
                  </a:lnTo>
                  <a:lnTo>
                    <a:pt x="318" y="236"/>
                  </a:lnTo>
                  <a:lnTo>
                    <a:pt x="335" y="253"/>
                  </a:lnTo>
                  <a:lnTo>
                    <a:pt x="356" y="265"/>
                  </a:lnTo>
                  <a:lnTo>
                    <a:pt x="379" y="274"/>
                  </a:lnTo>
                  <a:lnTo>
                    <a:pt x="402" y="277"/>
                  </a:lnTo>
                  <a:lnTo>
                    <a:pt x="427" y="274"/>
                  </a:lnTo>
                  <a:lnTo>
                    <a:pt x="450" y="265"/>
                  </a:lnTo>
                  <a:lnTo>
                    <a:pt x="469" y="253"/>
                  </a:lnTo>
                  <a:lnTo>
                    <a:pt x="486" y="236"/>
                  </a:lnTo>
                  <a:lnTo>
                    <a:pt x="499" y="216"/>
                  </a:lnTo>
                  <a:lnTo>
                    <a:pt x="507" y="193"/>
                  </a:lnTo>
                  <a:lnTo>
                    <a:pt x="510" y="168"/>
                  </a:lnTo>
                  <a:lnTo>
                    <a:pt x="507" y="144"/>
                  </a:lnTo>
                  <a:lnTo>
                    <a:pt x="499" y="121"/>
                  </a:lnTo>
                  <a:lnTo>
                    <a:pt x="486" y="101"/>
                  </a:lnTo>
                  <a:lnTo>
                    <a:pt x="469" y="85"/>
                  </a:lnTo>
                  <a:lnTo>
                    <a:pt x="450" y="72"/>
                  </a:lnTo>
                  <a:lnTo>
                    <a:pt x="427" y="63"/>
                  </a:lnTo>
                  <a:lnTo>
                    <a:pt x="402" y="61"/>
                  </a:lnTo>
                  <a:close/>
                  <a:moveTo>
                    <a:pt x="402" y="0"/>
                  </a:moveTo>
                  <a:lnTo>
                    <a:pt x="436" y="3"/>
                  </a:lnTo>
                  <a:lnTo>
                    <a:pt x="467" y="14"/>
                  </a:lnTo>
                  <a:lnTo>
                    <a:pt x="496" y="29"/>
                  </a:lnTo>
                  <a:lnTo>
                    <a:pt x="521" y="49"/>
                  </a:lnTo>
                  <a:lnTo>
                    <a:pt x="541" y="74"/>
                  </a:lnTo>
                  <a:lnTo>
                    <a:pt x="557" y="103"/>
                  </a:lnTo>
                  <a:lnTo>
                    <a:pt x="566" y="135"/>
                  </a:lnTo>
                  <a:lnTo>
                    <a:pt x="569" y="168"/>
                  </a:lnTo>
                  <a:lnTo>
                    <a:pt x="566" y="203"/>
                  </a:lnTo>
                  <a:lnTo>
                    <a:pt x="557" y="233"/>
                  </a:lnTo>
                  <a:lnTo>
                    <a:pt x="541" y="262"/>
                  </a:lnTo>
                  <a:lnTo>
                    <a:pt x="521" y="287"/>
                  </a:lnTo>
                  <a:lnTo>
                    <a:pt x="496" y="308"/>
                  </a:lnTo>
                  <a:lnTo>
                    <a:pt x="467" y="324"/>
                  </a:lnTo>
                  <a:lnTo>
                    <a:pt x="436" y="333"/>
                  </a:lnTo>
                  <a:lnTo>
                    <a:pt x="402" y="336"/>
                  </a:lnTo>
                  <a:lnTo>
                    <a:pt x="379" y="335"/>
                  </a:lnTo>
                  <a:lnTo>
                    <a:pt x="356" y="331"/>
                  </a:lnTo>
                  <a:lnTo>
                    <a:pt x="74" y="787"/>
                  </a:lnTo>
                  <a:lnTo>
                    <a:pt x="38" y="760"/>
                  </a:lnTo>
                  <a:lnTo>
                    <a:pt x="0" y="735"/>
                  </a:lnTo>
                  <a:lnTo>
                    <a:pt x="280" y="282"/>
                  </a:lnTo>
                  <a:lnTo>
                    <a:pt x="260" y="257"/>
                  </a:lnTo>
                  <a:lnTo>
                    <a:pt x="247" y="230"/>
                  </a:lnTo>
                  <a:lnTo>
                    <a:pt x="239" y="200"/>
                  </a:lnTo>
                  <a:lnTo>
                    <a:pt x="235" y="168"/>
                  </a:lnTo>
                  <a:lnTo>
                    <a:pt x="239" y="135"/>
                  </a:lnTo>
                  <a:lnTo>
                    <a:pt x="249" y="103"/>
                  </a:lnTo>
                  <a:lnTo>
                    <a:pt x="264" y="74"/>
                  </a:lnTo>
                  <a:lnTo>
                    <a:pt x="284" y="49"/>
                  </a:lnTo>
                  <a:lnTo>
                    <a:pt x="309" y="29"/>
                  </a:lnTo>
                  <a:lnTo>
                    <a:pt x="338" y="14"/>
                  </a:lnTo>
                  <a:lnTo>
                    <a:pt x="369" y="3"/>
                  </a:lnTo>
                  <a:lnTo>
                    <a:pt x="4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1" name="Freeform 8"/>
            <p:cNvSpPr>
              <a:spLocks noEditPoints="1"/>
            </p:cNvSpPr>
            <p:nvPr userDrawn="1"/>
          </p:nvSpPr>
          <p:spPr bwMode="auto">
            <a:xfrm>
              <a:off x="1322" y="744"/>
              <a:ext cx="472" cy="282"/>
            </a:xfrm>
            <a:custGeom>
              <a:avLst/>
              <a:gdLst>
                <a:gd name="T0" fmla="*/ 1519 w 2361"/>
                <a:gd name="T1" fmla="*/ 1158 h 1410"/>
                <a:gd name="T2" fmla="*/ 1480 w 2361"/>
                <a:gd name="T3" fmla="*/ 1242 h 1410"/>
                <a:gd name="T4" fmla="*/ 1519 w 2361"/>
                <a:gd name="T5" fmla="*/ 1327 h 1410"/>
                <a:gd name="T6" fmla="*/ 1611 w 2361"/>
                <a:gd name="T7" fmla="*/ 1347 h 1410"/>
                <a:gd name="T8" fmla="*/ 1683 w 2361"/>
                <a:gd name="T9" fmla="*/ 1290 h 1410"/>
                <a:gd name="T10" fmla="*/ 1683 w 2361"/>
                <a:gd name="T11" fmla="*/ 1195 h 1410"/>
                <a:gd name="T12" fmla="*/ 1611 w 2361"/>
                <a:gd name="T13" fmla="*/ 1137 h 1410"/>
                <a:gd name="T14" fmla="*/ 120 w 2361"/>
                <a:gd name="T15" fmla="*/ 824 h 1410"/>
                <a:gd name="T16" fmla="*/ 63 w 2361"/>
                <a:gd name="T17" fmla="*/ 896 h 1410"/>
                <a:gd name="T18" fmla="*/ 83 w 2361"/>
                <a:gd name="T19" fmla="*/ 989 h 1410"/>
                <a:gd name="T20" fmla="*/ 167 w 2361"/>
                <a:gd name="T21" fmla="*/ 1029 h 1410"/>
                <a:gd name="T22" fmla="*/ 251 w 2361"/>
                <a:gd name="T23" fmla="*/ 989 h 1410"/>
                <a:gd name="T24" fmla="*/ 272 w 2361"/>
                <a:gd name="T25" fmla="*/ 896 h 1410"/>
                <a:gd name="T26" fmla="*/ 215 w 2361"/>
                <a:gd name="T27" fmla="*/ 824 h 1410"/>
                <a:gd name="T28" fmla="*/ 1049 w 2361"/>
                <a:gd name="T29" fmla="*/ 243 h 1410"/>
                <a:gd name="T30" fmla="*/ 977 w 2361"/>
                <a:gd name="T31" fmla="*/ 301 h 1410"/>
                <a:gd name="T32" fmla="*/ 977 w 2361"/>
                <a:gd name="T33" fmla="*/ 396 h 1410"/>
                <a:gd name="T34" fmla="*/ 1049 w 2361"/>
                <a:gd name="T35" fmla="*/ 454 h 1410"/>
                <a:gd name="T36" fmla="*/ 1141 w 2361"/>
                <a:gd name="T37" fmla="*/ 433 h 1410"/>
                <a:gd name="T38" fmla="*/ 1181 w 2361"/>
                <a:gd name="T39" fmla="*/ 348 h 1410"/>
                <a:gd name="T40" fmla="*/ 1141 w 2361"/>
                <a:gd name="T41" fmla="*/ 265 h 1410"/>
                <a:gd name="T42" fmla="*/ 2122 w 2361"/>
                <a:gd name="T43" fmla="*/ 60 h 1410"/>
                <a:gd name="T44" fmla="*/ 2039 w 2361"/>
                <a:gd name="T45" fmla="*/ 101 h 1410"/>
                <a:gd name="T46" fmla="*/ 2018 w 2361"/>
                <a:gd name="T47" fmla="*/ 193 h 1410"/>
                <a:gd name="T48" fmla="*/ 2075 w 2361"/>
                <a:gd name="T49" fmla="*/ 265 h 1410"/>
                <a:gd name="T50" fmla="*/ 2169 w 2361"/>
                <a:gd name="T51" fmla="*/ 265 h 1410"/>
                <a:gd name="T52" fmla="*/ 2226 w 2361"/>
                <a:gd name="T53" fmla="*/ 193 h 1410"/>
                <a:gd name="T54" fmla="*/ 2206 w 2361"/>
                <a:gd name="T55" fmla="*/ 101 h 1410"/>
                <a:gd name="T56" fmla="*/ 2122 w 2361"/>
                <a:gd name="T57" fmla="*/ 60 h 1410"/>
                <a:gd name="T58" fmla="*/ 2216 w 2361"/>
                <a:gd name="T59" fmla="*/ 29 h 1410"/>
                <a:gd name="T60" fmla="*/ 2286 w 2361"/>
                <a:gd name="T61" fmla="*/ 134 h 1410"/>
                <a:gd name="T62" fmla="*/ 2264 w 2361"/>
                <a:gd name="T63" fmla="*/ 258 h 1410"/>
                <a:gd name="T64" fmla="*/ 2282 w 2361"/>
                <a:gd name="T65" fmla="*/ 539 h 1410"/>
                <a:gd name="T66" fmla="*/ 2106 w 2361"/>
                <a:gd name="T67" fmla="*/ 336 h 1410"/>
                <a:gd name="T68" fmla="*/ 1742 w 2361"/>
                <a:gd name="T69" fmla="*/ 1181 h 1410"/>
                <a:gd name="T70" fmla="*/ 1740 w 2361"/>
                <a:gd name="T71" fmla="*/ 1308 h 1410"/>
                <a:gd name="T72" fmla="*/ 1651 w 2361"/>
                <a:gd name="T73" fmla="*/ 1398 h 1410"/>
                <a:gd name="T74" fmla="*/ 1522 w 2361"/>
                <a:gd name="T75" fmla="*/ 1398 h 1410"/>
                <a:gd name="T76" fmla="*/ 1433 w 2361"/>
                <a:gd name="T77" fmla="*/ 1308 h 1410"/>
                <a:gd name="T78" fmla="*/ 1431 w 2361"/>
                <a:gd name="T79" fmla="*/ 1180 h 1410"/>
                <a:gd name="T80" fmla="*/ 1102 w 2361"/>
                <a:gd name="T81" fmla="*/ 514 h 1410"/>
                <a:gd name="T82" fmla="*/ 988 w 2361"/>
                <a:gd name="T83" fmla="*/ 492 h 1410"/>
                <a:gd name="T84" fmla="*/ 334 w 2361"/>
                <a:gd name="T85" fmla="*/ 922 h 1410"/>
                <a:gd name="T86" fmla="*/ 285 w 2361"/>
                <a:gd name="T87" fmla="*/ 1041 h 1410"/>
                <a:gd name="T88" fmla="*/ 167 w 2361"/>
                <a:gd name="T89" fmla="*/ 1090 h 1410"/>
                <a:gd name="T90" fmla="*/ 49 w 2361"/>
                <a:gd name="T91" fmla="*/ 1041 h 1410"/>
                <a:gd name="T92" fmla="*/ 0 w 2361"/>
                <a:gd name="T93" fmla="*/ 922 h 1410"/>
                <a:gd name="T94" fmla="*/ 49 w 2361"/>
                <a:gd name="T95" fmla="*/ 803 h 1410"/>
                <a:gd name="T96" fmla="*/ 167 w 2361"/>
                <a:gd name="T97" fmla="*/ 753 h 1410"/>
                <a:gd name="T98" fmla="*/ 280 w 2361"/>
                <a:gd name="T99" fmla="*/ 797 h 1410"/>
                <a:gd name="T100" fmla="*/ 910 w 2361"/>
                <a:gd name="T101" fmla="*/ 315 h 1410"/>
                <a:gd name="T102" fmla="*/ 981 w 2361"/>
                <a:gd name="T103" fmla="*/ 209 h 1410"/>
                <a:gd name="T104" fmla="*/ 1107 w 2361"/>
                <a:gd name="T105" fmla="*/ 184 h 1410"/>
                <a:gd name="T106" fmla="*/ 1213 w 2361"/>
                <a:gd name="T107" fmla="*/ 254 h 1410"/>
                <a:gd name="T108" fmla="*/ 1239 w 2361"/>
                <a:gd name="T109" fmla="*/ 378 h 1410"/>
                <a:gd name="T110" fmla="*/ 1541 w 2361"/>
                <a:gd name="T111" fmla="*/ 1081 h 1410"/>
                <a:gd name="T112" fmla="*/ 1633 w 2361"/>
                <a:gd name="T113" fmla="*/ 1081 h 1410"/>
                <a:gd name="T114" fmla="*/ 1965 w 2361"/>
                <a:gd name="T115" fmla="*/ 224 h 1410"/>
                <a:gd name="T116" fmla="*/ 1968 w 2361"/>
                <a:gd name="T117" fmla="*/ 103 h 1410"/>
                <a:gd name="T118" fmla="*/ 2057 w 2361"/>
                <a:gd name="T119" fmla="*/ 13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1" h="1410">
                  <a:moveTo>
                    <a:pt x="1586" y="1134"/>
                  </a:moveTo>
                  <a:lnTo>
                    <a:pt x="1561" y="1137"/>
                  </a:lnTo>
                  <a:lnTo>
                    <a:pt x="1540" y="1146"/>
                  </a:lnTo>
                  <a:lnTo>
                    <a:pt x="1519" y="1158"/>
                  </a:lnTo>
                  <a:lnTo>
                    <a:pt x="1502" y="1174"/>
                  </a:lnTo>
                  <a:lnTo>
                    <a:pt x="1490" y="1195"/>
                  </a:lnTo>
                  <a:lnTo>
                    <a:pt x="1482" y="1218"/>
                  </a:lnTo>
                  <a:lnTo>
                    <a:pt x="1480" y="1242"/>
                  </a:lnTo>
                  <a:lnTo>
                    <a:pt x="1482" y="1267"/>
                  </a:lnTo>
                  <a:lnTo>
                    <a:pt x="1490" y="1290"/>
                  </a:lnTo>
                  <a:lnTo>
                    <a:pt x="1502" y="1309"/>
                  </a:lnTo>
                  <a:lnTo>
                    <a:pt x="1519" y="1327"/>
                  </a:lnTo>
                  <a:lnTo>
                    <a:pt x="1540" y="1339"/>
                  </a:lnTo>
                  <a:lnTo>
                    <a:pt x="1561" y="1347"/>
                  </a:lnTo>
                  <a:lnTo>
                    <a:pt x="1586" y="1351"/>
                  </a:lnTo>
                  <a:lnTo>
                    <a:pt x="1611" y="1347"/>
                  </a:lnTo>
                  <a:lnTo>
                    <a:pt x="1633" y="1339"/>
                  </a:lnTo>
                  <a:lnTo>
                    <a:pt x="1653" y="1327"/>
                  </a:lnTo>
                  <a:lnTo>
                    <a:pt x="1670" y="1309"/>
                  </a:lnTo>
                  <a:lnTo>
                    <a:pt x="1683" y="1290"/>
                  </a:lnTo>
                  <a:lnTo>
                    <a:pt x="1691" y="1267"/>
                  </a:lnTo>
                  <a:lnTo>
                    <a:pt x="1693" y="1242"/>
                  </a:lnTo>
                  <a:lnTo>
                    <a:pt x="1691" y="1218"/>
                  </a:lnTo>
                  <a:lnTo>
                    <a:pt x="1683" y="1195"/>
                  </a:lnTo>
                  <a:lnTo>
                    <a:pt x="1670" y="1174"/>
                  </a:lnTo>
                  <a:lnTo>
                    <a:pt x="1653" y="1158"/>
                  </a:lnTo>
                  <a:lnTo>
                    <a:pt x="1633" y="1146"/>
                  </a:lnTo>
                  <a:lnTo>
                    <a:pt x="1611" y="1137"/>
                  </a:lnTo>
                  <a:lnTo>
                    <a:pt x="1586" y="1134"/>
                  </a:lnTo>
                  <a:close/>
                  <a:moveTo>
                    <a:pt x="167" y="814"/>
                  </a:moveTo>
                  <a:lnTo>
                    <a:pt x="142" y="816"/>
                  </a:lnTo>
                  <a:lnTo>
                    <a:pt x="120" y="824"/>
                  </a:lnTo>
                  <a:lnTo>
                    <a:pt x="100" y="837"/>
                  </a:lnTo>
                  <a:lnTo>
                    <a:pt x="83" y="854"/>
                  </a:lnTo>
                  <a:lnTo>
                    <a:pt x="70" y="875"/>
                  </a:lnTo>
                  <a:lnTo>
                    <a:pt x="63" y="896"/>
                  </a:lnTo>
                  <a:lnTo>
                    <a:pt x="60" y="922"/>
                  </a:lnTo>
                  <a:lnTo>
                    <a:pt x="63" y="947"/>
                  </a:lnTo>
                  <a:lnTo>
                    <a:pt x="70" y="970"/>
                  </a:lnTo>
                  <a:lnTo>
                    <a:pt x="83" y="989"/>
                  </a:lnTo>
                  <a:lnTo>
                    <a:pt x="100" y="1006"/>
                  </a:lnTo>
                  <a:lnTo>
                    <a:pt x="120" y="1019"/>
                  </a:lnTo>
                  <a:lnTo>
                    <a:pt x="142" y="1027"/>
                  </a:lnTo>
                  <a:lnTo>
                    <a:pt x="167" y="1029"/>
                  </a:lnTo>
                  <a:lnTo>
                    <a:pt x="192" y="1027"/>
                  </a:lnTo>
                  <a:lnTo>
                    <a:pt x="215" y="1019"/>
                  </a:lnTo>
                  <a:lnTo>
                    <a:pt x="234" y="1006"/>
                  </a:lnTo>
                  <a:lnTo>
                    <a:pt x="251" y="989"/>
                  </a:lnTo>
                  <a:lnTo>
                    <a:pt x="264" y="970"/>
                  </a:lnTo>
                  <a:lnTo>
                    <a:pt x="272" y="947"/>
                  </a:lnTo>
                  <a:lnTo>
                    <a:pt x="274" y="922"/>
                  </a:lnTo>
                  <a:lnTo>
                    <a:pt x="272" y="896"/>
                  </a:lnTo>
                  <a:lnTo>
                    <a:pt x="264" y="875"/>
                  </a:lnTo>
                  <a:lnTo>
                    <a:pt x="251" y="854"/>
                  </a:lnTo>
                  <a:lnTo>
                    <a:pt x="234" y="837"/>
                  </a:lnTo>
                  <a:lnTo>
                    <a:pt x="215" y="824"/>
                  </a:lnTo>
                  <a:lnTo>
                    <a:pt x="192" y="816"/>
                  </a:lnTo>
                  <a:lnTo>
                    <a:pt x="167" y="814"/>
                  </a:lnTo>
                  <a:close/>
                  <a:moveTo>
                    <a:pt x="1074" y="241"/>
                  </a:moveTo>
                  <a:lnTo>
                    <a:pt x="1049" y="243"/>
                  </a:lnTo>
                  <a:lnTo>
                    <a:pt x="1026" y="252"/>
                  </a:lnTo>
                  <a:lnTo>
                    <a:pt x="1007" y="265"/>
                  </a:lnTo>
                  <a:lnTo>
                    <a:pt x="990" y="281"/>
                  </a:lnTo>
                  <a:lnTo>
                    <a:pt x="977" y="301"/>
                  </a:lnTo>
                  <a:lnTo>
                    <a:pt x="969" y="324"/>
                  </a:lnTo>
                  <a:lnTo>
                    <a:pt x="966" y="348"/>
                  </a:lnTo>
                  <a:lnTo>
                    <a:pt x="969" y="373"/>
                  </a:lnTo>
                  <a:lnTo>
                    <a:pt x="977" y="396"/>
                  </a:lnTo>
                  <a:lnTo>
                    <a:pt x="990" y="416"/>
                  </a:lnTo>
                  <a:lnTo>
                    <a:pt x="1007" y="433"/>
                  </a:lnTo>
                  <a:lnTo>
                    <a:pt x="1026" y="446"/>
                  </a:lnTo>
                  <a:lnTo>
                    <a:pt x="1049" y="454"/>
                  </a:lnTo>
                  <a:lnTo>
                    <a:pt x="1074" y="457"/>
                  </a:lnTo>
                  <a:lnTo>
                    <a:pt x="1098" y="454"/>
                  </a:lnTo>
                  <a:lnTo>
                    <a:pt x="1120" y="446"/>
                  </a:lnTo>
                  <a:lnTo>
                    <a:pt x="1141" y="433"/>
                  </a:lnTo>
                  <a:lnTo>
                    <a:pt x="1157" y="416"/>
                  </a:lnTo>
                  <a:lnTo>
                    <a:pt x="1169" y="396"/>
                  </a:lnTo>
                  <a:lnTo>
                    <a:pt x="1178" y="373"/>
                  </a:lnTo>
                  <a:lnTo>
                    <a:pt x="1181" y="348"/>
                  </a:lnTo>
                  <a:lnTo>
                    <a:pt x="1178" y="324"/>
                  </a:lnTo>
                  <a:lnTo>
                    <a:pt x="1169" y="301"/>
                  </a:lnTo>
                  <a:lnTo>
                    <a:pt x="1157" y="281"/>
                  </a:lnTo>
                  <a:lnTo>
                    <a:pt x="1141" y="265"/>
                  </a:lnTo>
                  <a:lnTo>
                    <a:pt x="1120" y="252"/>
                  </a:lnTo>
                  <a:lnTo>
                    <a:pt x="1098" y="243"/>
                  </a:lnTo>
                  <a:lnTo>
                    <a:pt x="1074" y="241"/>
                  </a:lnTo>
                  <a:close/>
                  <a:moveTo>
                    <a:pt x="2122" y="60"/>
                  </a:moveTo>
                  <a:lnTo>
                    <a:pt x="2098" y="63"/>
                  </a:lnTo>
                  <a:lnTo>
                    <a:pt x="2075" y="71"/>
                  </a:lnTo>
                  <a:lnTo>
                    <a:pt x="2056" y="84"/>
                  </a:lnTo>
                  <a:lnTo>
                    <a:pt x="2039" y="101"/>
                  </a:lnTo>
                  <a:lnTo>
                    <a:pt x="2026" y="121"/>
                  </a:lnTo>
                  <a:lnTo>
                    <a:pt x="2018" y="143"/>
                  </a:lnTo>
                  <a:lnTo>
                    <a:pt x="2015" y="169"/>
                  </a:lnTo>
                  <a:lnTo>
                    <a:pt x="2018" y="193"/>
                  </a:lnTo>
                  <a:lnTo>
                    <a:pt x="2026" y="216"/>
                  </a:lnTo>
                  <a:lnTo>
                    <a:pt x="2039" y="236"/>
                  </a:lnTo>
                  <a:lnTo>
                    <a:pt x="2056" y="252"/>
                  </a:lnTo>
                  <a:lnTo>
                    <a:pt x="2075" y="265"/>
                  </a:lnTo>
                  <a:lnTo>
                    <a:pt x="2098" y="274"/>
                  </a:lnTo>
                  <a:lnTo>
                    <a:pt x="2122" y="276"/>
                  </a:lnTo>
                  <a:lnTo>
                    <a:pt x="2147" y="274"/>
                  </a:lnTo>
                  <a:lnTo>
                    <a:pt x="2169" y="265"/>
                  </a:lnTo>
                  <a:lnTo>
                    <a:pt x="2190" y="252"/>
                  </a:lnTo>
                  <a:lnTo>
                    <a:pt x="2206" y="236"/>
                  </a:lnTo>
                  <a:lnTo>
                    <a:pt x="2218" y="216"/>
                  </a:lnTo>
                  <a:lnTo>
                    <a:pt x="2226" y="193"/>
                  </a:lnTo>
                  <a:lnTo>
                    <a:pt x="2230" y="169"/>
                  </a:lnTo>
                  <a:lnTo>
                    <a:pt x="2226" y="143"/>
                  </a:lnTo>
                  <a:lnTo>
                    <a:pt x="2218" y="121"/>
                  </a:lnTo>
                  <a:lnTo>
                    <a:pt x="2206" y="101"/>
                  </a:lnTo>
                  <a:lnTo>
                    <a:pt x="2190" y="84"/>
                  </a:lnTo>
                  <a:lnTo>
                    <a:pt x="2169" y="71"/>
                  </a:lnTo>
                  <a:lnTo>
                    <a:pt x="2147" y="63"/>
                  </a:lnTo>
                  <a:lnTo>
                    <a:pt x="2122" y="60"/>
                  </a:lnTo>
                  <a:close/>
                  <a:moveTo>
                    <a:pt x="2122" y="0"/>
                  </a:moveTo>
                  <a:lnTo>
                    <a:pt x="2156" y="4"/>
                  </a:lnTo>
                  <a:lnTo>
                    <a:pt x="2188" y="13"/>
                  </a:lnTo>
                  <a:lnTo>
                    <a:pt x="2216" y="29"/>
                  </a:lnTo>
                  <a:lnTo>
                    <a:pt x="2240" y="50"/>
                  </a:lnTo>
                  <a:lnTo>
                    <a:pt x="2260" y="75"/>
                  </a:lnTo>
                  <a:lnTo>
                    <a:pt x="2276" y="103"/>
                  </a:lnTo>
                  <a:lnTo>
                    <a:pt x="2286" y="134"/>
                  </a:lnTo>
                  <a:lnTo>
                    <a:pt x="2290" y="169"/>
                  </a:lnTo>
                  <a:lnTo>
                    <a:pt x="2286" y="201"/>
                  </a:lnTo>
                  <a:lnTo>
                    <a:pt x="2277" y="230"/>
                  </a:lnTo>
                  <a:lnTo>
                    <a:pt x="2264" y="258"/>
                  </a:lnTo>
                  <a:lnTo>
                    <a:pt x="2244" y="283"/>
                  </a:lnTo>
                  <a:lnTo>
                    <a:pt x="2361" y="495"/>
                  </a:lnTo>
                  <a:lnTo>
                    <a:pt x="2322" y="515"/>
                  </a:lnTo>
                  <a:lnTo>
                    <a:pt x="2282" y="539"/>
                  </a:lnTo>
                  <a:lnTo>
                    <a:pt x="2167" y="330"/>
                  </a:lnTo>
                  <a:lnTo>
                    <a:pt x="2144" y="335"/>
                  </a:lnTo>
                  <a:lnTo>
                    <a:pt x="2122" y="337"/>
                  </a:lnTo>
                  <a:lnTo>
                    <a:pt x="2106" y="336"/>
                  </a:lnTo>
                  <a:lnTo>
                    <a:pt x="2091" y="333"/>
                  </a:lnTo>
                  <a:lnTo>
                    <a:pt x="1711" y="1130"/>
                  </a:lnTo>
                  <a:lnTo>
                    <a:pt x="1728" y="1154"/>
                  </a:lnTo>
                  <a:lnTo>
                    <a:pt x="1742" y="1181"/>
                  </a:lnTo>
                  <a:lnTo>
                    <a:pt x="1750" y="1211"/>
                  </a:lnTo>
                  <a:lnTo>
                    <a:pt x="1753" y="1242"/>
                  </a:lnTo>
                  <a:lnTo>
                    <a:pt x="1750" y="1276"/>
                  </a:lnTo>
                  <a:lnTo>
                    <a:pt x="1740" y="1308"/>
                  </a:lnTo>
                  <a:lnTo>
                    <a:pt x="1725" y="1337"/>
                  </a:lnTo>
                  <a:lnTo>
                    <a:pt x="1705" y="1361"/>
                  </a:lnTo>
                  <a:lnTo>
                    <a:pt x="1680" y="1382"/>
                  </a:lnTo>
                  <a:lnTo>
                    <a:pt x="1651" y="1398"/>
                  </a:lnTo>
                  <a:lnTo>
                    <a:pt x="1620" y="1407"/>
                  </a:lnTo>
                  <a:lnTo>
                    <a:pt x="1586" y="1410"/>
                  </a:lnTo>
                  <a:lnTo>
                    <a:pt x="1552" y="1407"/>
                  </a:lnTo>
                  <a:lnTo>
                    <a:pt x="1522" y="1398"/>
                  </a:lnTo>
                  <a:lnTo>
                    <a:pt x="1493" y="1382"/>
                  </a:lnTo>
                  <a:lnTo>
                    <a:pt x="1468" y="1361"/>
                  </a:lnTo>
                  <a:lnTo>
                    <a:pt x="1448" y="1337"/>
                  </a:lnTo>
                  <a:lnTo>
                    <a:pt x="1433" y="1308"/>
                  </a:lnTo>
                  <a:lnTo>
                    <a:pt x="1423" y="1276"/>
                  </a:lnTo>
                  <a:lnTo>
                    <a:pt x="1419" y="1242"/>
                  </a:lnTo>
                  <a:lnTo>
                    <a:pt x="1423" y="1210"/>
                  </a:lnTo>
                  <a:lnTo>
                    <a:pt x="1431" y="1180"/>
                  </a:lnTo>
                  <a:lnTo>
                    <a:pt x="1445" y="1153"/>
                  </a:lnTo>
                  <a:lnTo>
                    <a:pt x="1464" y="1129"/>
                  </a:lnTo>
                  <a:lnTo>
                    <a:pt x="1130" y="507"/>
                  </a:lnTo>
                  <a:lnTo>
                    <a:pt x="1102" y="514"/>
                  </a:lnTo>
                  <a:lnTo>
                    <a:pt x="1074" y="516"/>
                  </a:lnTo>
                  <a:lnTo>
                    <a:pt x="1043" y="514"/>
                  </a:lnTo>
                  <a:lnTo>
                    <a:pt x="1015" y="506"/>
                  </a:lnTo>
                  <a:lnTo>
                    <a:pt x="988" y="492"/>
                  </a:lnTo>
                  <a:lnTo>
                    <a:pt x="965" y="475"/>
                  </a:lnTo>
                  <a:lnTo>
                    <a:pt x="327" y="875"/>
                  </a:lnTo>
                  <a:lnTo>
                    <a:pt x="333" y="898"/>
                  </a:lnTo>
                  <a:lnTo>
                    <a:pt x="334" y="922"/>
                  </a:lnTo>
                  <a:lnTo>
                    <a:pt x="331" y="956"/>
                  </a:lnTo>
                  <a:lnTo>
                    <a:pt x="320" y="987"/>
                  </a:lnTo>
                  <a:lnTo>
                    <a:pt x="306" y="1015"/>
                  </a:lnTo>
                  <a:lnTo>
                    <a:pt x="285" y="1041"/>
                  </a:lnTo>
                  <a:lnTo>
                    <a:pt x="260" y="1061"/>
                  </a:lnTo>
                  <a:lnTo>
                    <a:pt x="232" y="1077"/>
                  </a:lnTo>
                  <a:lnTo>
                    <a:pt x="201" y="1086"/>
                  </a:lnTo>
                  <a:lnTo>
                    <a:pt x="167" y="1090"/>
                  </a:lnTo>
                  <a:lnTo>
                    <a:pt x="133" y="1086"/>
                  </a:lnTo>
                  <a:lnTo>
                    <a:pt x="102" y="1077"/>
                  </a:lnTo>
                  <a:lnTo>
                    <a:pt x="74" y="1061"/>
                  </a:lnTo>
                  <a:lnTo>
                    <a:pt x="49" y="1041"/>
                  </a:lnTo>
                  <a:lnTo>
                    <a:pt x="28" y="1015"/>
                  </a:lnTo>
                  <a:lnTo>
                    <a:pt x="14" y="987"/>
                  </a:lnTo>
                  <a:lnTo>
                    <a:pt x="3" y="956"/>
                  </a:lnTo>
                  <a:lnTo>
                    <a:pt x="0" y="922"/>
                  </a:lnTo>
                  <a:lnTo>
                    <a:pt x="3" y="887"/>
                  </a:lnTo>
                  <a:lnTo>
                    <a:pt x="14" y="856"/>
                  </a:lnTo>
                  <a:lnTo>
                    <a:pt x="28" y="828"/>
                  </a:lnTo>
                  <a:lnTo>
                    <a:pt x="49" y="803"/>
                  </a:lnTo>
                  <a:lnTo>
                    <a:pt x="74" y="782"/>
                  </a:lnTo>
                  <a:lnTo>
                    <a:pt x="102" y="767"/>
                  </a:lnTo>
                  <a:lnTo>
                    <a:pt x="133" y="757"/>
                  </a:lnTo>
                  <a:lnTo>
                    <a:pt x="167" y="753"/>
                  </a:lnTo>
                  <a:lnTo>
                    <a:pt x="199" y="757"/>
                  </a:lnTo>
                  <a:lnTo>
                    <a:pt x="228" y="765"/>
                  </a:lnTo>
                  <a:lnTo>
                    <a:pt x="256" y="779"/>
                  </a:lnTo>
                  <a:lnTo>
                    <a:pt x="280" y="797"/>
                  </a:lnTo>
                  <a:lnTo>
                    <a:pt x="914" y="399"/>
                  </a:lnTo>
                  <a:lnTo>
                    <a:pt x="908" y="375"/>
                  </a:lnTo>
                  <a:lnTo>
                    <a:pt x="907" y="348"/>
                  </a:lnTo>
                  <a:lnTo>
                    <a:pt x="910" y="315"/>
                  </a:lnTo>
                  <a:lnTo>
                    <a:pt x="919" y="283"/>
                  </a:lnTo>
                  <a:lnTo>
                    <a:pt x="935" y="254"/>
                  </a:lnTo>
                  <a:lnTo>
                    <a:pt x="956" y="229"/>
                  </a:lnTo>
                  <a:lnTo>
                    <a:pt x="981" y="209"/>
                  </a:lnTo>
                  <a:lnTo>
                    <a:pt x="1009" y="194"/>
                  </a:lnTo>
                  <a:lnTo>
                    <a:pt x="1040" y="184"/>
                  </a:lnTo>
                  <a:lnTo>
                    <a:pt x="1074" y="180"/>
                  </a:lnTo>
                  <a:lnTo>
                    <a:pt x="1107" y="184"/>
                  </a:lnTo>
                  <a:lnTo>
                    <a:pt x="1139" y="194"/>
                  </a:lnTo>
                  <a:lnTo>
                    <a:pt x="1167" y="209"/>
                  </a:lnTo>
                  <a:lnTo>
                    <a:pt x="1192" y="229"/>
                  </a:lnTo>
                  <a:lnTo>
                    <a:pt x="1213" y="254"/>
                  </a:lnTo>
                  <a:lnTo>
                    <a:pt x="1227" y="283"/>
                  </a:lnTo>
                  <a:lnTo>
                    <a:pt x="1238" y="315"/>
                  </a:lnTo>
                  <a:lnTo>
                    <a:pt x="1241" y="348"/>
                  </a:lnTo>
                  <a:lnTo>
                    <a:pt x="1239" y="378"/>
                  </a:lnTo>
                  <a:lnTo>
                    <a:pt x="1231" y="405"/>
                  </a:lnTo>
                  <a:lnTo>
                    <a:pt x="1219" y="431"/>
                  </a:lnTo>
                  <a:lnTo>
                    <a:pt x="1205" y="454"/>
                  </a:lnTo>
                  <a:lnTo>
                    <a:pt x="1541" y="1081"/>
                  </a:lnTo>
                  <a:lnTo>
                    <a:pt x="1564" y="1076"/>
                  </a:lnTo>
                  <a:lnTo>
                    <a:pt x="1586" y="1074"/>
                  </a:lnTo>
                  <a:lnTo>
                    <a:pt x="1610" y="1076"/>
                  </a:lnTo>
                  <a:lnTo>
                    <a:pt x="1633" y="1081"/>
                  </a:lnTo>
                  <a:lnTo>
                    <a:pt x="2009" y="292"/>
                  </a:lnTo>
                  <a:lnTo>
                    <a:pt x="1991" y="272"/>
                  </a:lnTo>
                  <a:lnTo>
                    <a:pt x="1976" y="249"/>
                  </a:lnTo>
                  <a:lnTo>
                    <a:pt x="1965" y="224"/>
                  </a:lnTo>
                  <a:lnTo>
                    <a:pt x="1958" y="197"/>
                  </a:lnTo>
                  <a:lnTo>
                    <a:pt x="1955" y="169"/>
                  </a:lnTo>
                  <a:lnTo>
                    <a:pt x="1958" y="134"/>
                  </a:lnTo>
                  <a:lnTo>
                    <a:pt x="1968" y="103"/>
                  </a:lnTo>
                  <a:lnTo>
                    <a:pt x="1984" y="75"/>
                  </a:lnTo>
                  <a:lnTo>
                    <a:pt x="2005" y="50"/>
                  </a:lnTo>
                  <a:lnTo>
                    <a:pt x="2028" y="29"/>
                  </a:lnTo>
                  <a:lnTo>
                    <a:pt x="2057" y="13"/>
                  </a:lnTo>
                  <a:lnTo>
                    <a:pt x="2089" y="4"/>
                  </a:lnTo>
                  <a:lnTo>
                    <a:pt x="2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sp>
          <p:nvSpPr>
            <p:cNvPr id="12" name="Freeform 9"/>
            <p:cNvSpPr>
              <a:spLocks noEditPoints="1"/>
            </p:cNvSpPr>
            <p:nvPr userDrawn="1"/>
          </p:nvSpPr>
          <p:spPr bwMode="auto">
            <a:xfrm>
              <a:off x="1729" y="840"/>
              <a:ext cx="337" cy="371"/>
            </a:xfrm>
            <a:custGeom>
              <a:avLst/>
              <a:gdLst>
                <a:gd name="T0" fmla="*/ 463 w 1685"/>
                <a:gd name="T1" fmla="*/ 167 h 1853"/>
                <a:gd name="T2" fmla="*/ 334 w 1685"/>
                <a:gd name="T3" fmla="*/ 227 h 1853"/>
                <a:gd name="T4" fmla="*/ 231 w 1685"/>
                <a:gd name="T5" fmla="*/ 329 h 1853"/>
                <a:gd name="T6" fmla="*/ 170 w 1685"/>
                <a:gd name="T7" fmla="*/ 455 h 1853"/>
                <a:gd name="T8" fmla="*/ 153 w 1685"/>
                <a:gd name="T9" fmla="*/ 592 h 1853"/>
                <a:gd name="T10" fmla="*/ 181 w 1685"/>
                <a:gd name="T11" fmla="*/ 729 h 1853"/>
                <a:gd name="T12" fmla="*/ 255 w 1685"/>
                <a:gd name="T13" fmla="*/ 853 h 1853"/>
                <a:gd name="T14" fmla="*/ 366 w 1685"/>
                <a:gd name="T15" fmla="*/ 943 h 1853"/>
                <a:gd name="T16" fmla="*/ 497 w 1685"/>
                <a:gd name="T17" fmla="*/ 990 h 1853"/>
                <a:gd name="T18" fmla="*/ 634 w 1685"/>
                <a:gd name="T19" fmla="*/ 992 h 1853"/>
                <a:gd name="T20" fmla="*/ 767 w 1685"/>
                <a:gd name="T21" fmla="*/ 949 h 1853"/>
                <a:gd name="T22" fmla="*/ 882 w 1685"/>
                <a:gd name="T23" fmla="*/ 860 h 1853"/>
                <a:gd name="T24" fmla="*/ 957 w 1685"/>
                <a:gd name="T25" fmla="*/ 740 h 1853"/>
                <a:gd name="T26" fmla="*/ 990 w 1685"/>
                <a:gd name="T27" fmla="*/ 605 h 1853"/>
                <a:gd name="T28" fmla="*/ 976 w 1685"/>
                <a:gd name="T29" fmla="*/ 466 h 1853"/>
                <a:gd name="T30" fmla="*/ 917 w 1685"/>
                <a:gd name="T31" fmla="*/ 337 h 1853"/>
                <a:gd name="T32" fmla="*/ 816 w 1685"/>
                <a:gd name="T33" fmla="*/ 232 h 1853"/>
                <a:gd name="T34" fmla="*/ 691 w 1685"/>
                <a:gd name="T35" fmla="*/ 170 h 1853"/>
                <a:gd name="T36" fmla="*/ 554 w 1685"/>
                <a:gd name="T37" fmla="*/ 154 h 1853"/>
                <a:gd name="T38" fmla="*/ 665 w 1685"/>
                <a:gd name="T39" fmla="*/ 8 h 1853"/>
                <a:gd name="T40" fmla="*/ 822 w 1685"/>
                <a:gd name="T41" fmla="*/ 59 h 1853"/>
                <a:gd name="T42" fmla="*/ 962 w 1685"/>
                <a:gd name="T43" fmla="*/ 155 h 1853"/>
                <a:gd name="T44" fmla="*/ 1067 w 1685"/>
                <a:gd name="T45" fmla="*/ 290 h 1853"/>
                <a:gd name="T46" fmla="*/ 1128 w 1685"/>
                <a:gd name="T47" fmla="*/ 444 h 1853"/>
                <a:gd name="T48" fmla="*/ 1141 w 1685"/>
                <a:gd name="T49" fmla="*/ 606 h 1853"/>
                <a:gd name="T50" fmla="*/ 1109 w 1685"/>
                <a:gd name="T51" fmla="*/ 765 h 1853"/>
                <a:gd name="T52" fmla="*/ 1034 w 1685"/>
                <a:gd name="T53" fmla="*/ 910 h 1853"/>
                <a:gd name="T54" fmla="*/ 1679 w 1685"/>
                <a:gd name="T55" fmla="*/ 1743 h 1853"/>
                <a:gd name="T56" fmla="*/ 1682 w 1685"/>
                <a:gd name="T57" fmla="*/ 1800 h 1853"/>
                <a:gd name="T58" fmla="*/ 1643 w 1685"/>
                <a:gd name="T59" fmla="*/ 1845 h 1853"/>
                <a:gd name="T60" fmla="*/ 1587 w 1685"/>
                <a:gd name="T61" fmla="*/ 1848 h 1853"/>
                <a:gd name="T62" fmla="*/ 885 w 1685"/>
                <a:gd name="T63" fmla="*/ 1054 h 1853"/>
                <a:gd name="T64" fmla="*/ 735 w 1685"/>
                <a:gd name="T65" fmla="*/ 1125 h 1853"/>
                <a:gd name="T66" fmla="*/ 576 w 1685"/>
                <a:gd name="T67" fmla="*/ 1149 h 1853"/>
                <a:gd name="T68" fmla="*/ 417 w 1685"/>
                <a:gd name="T69" fmla="*/ 1129 h 1853"/>
                <a:gd name="T70" fmla="*/ 268 w 1685"/>
                <a:gd name="T71" fmla="*/ 1062 h 1853"/>
                <a:gd name="T72" fmla="*/ 140 w 1685"/>
                <a:gd name="T73" fmla="*/ 952 h 1853"/>
                <a:gd name="T74" fmla="*/ 48 w 1685"/>
                <a:gd name="T75" fmla="*/ 807 h 1853"/>
                <a:gd name="T76" fmla="*/ 5 w 1685"/>
                <a:gd name="T77" fmla="*/ 646 h 1853"/>
                <a:gd name="T78" fmla="*/ 8 w 1685"/>
                <a:gd name="T79" fmla="*/ 481 h 1853"/>
                <a:gd name="T80" fmla="*/ 58 w 1685"/>
                <a:gd name="T81" fmla="*/ 322 h 1853"/>
                <a:gd name="T82" fmla="*/ 154 w 1685"/>
                <a:gd name="T83" fmla="*/ 182 h 1853"/>
                <a:gd name="T84" fmla="*/ 290 w 1685"/>
                <a:gd name="T85" fmla="*/ 74 h 1853"/>
                <a:gd name="T86" fmla="*/ 447 w 1685"/>
                <a:gd name="T87" fmla="*/ 1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5" h="1853">
                  <a:moveTo>
                    <a:pt x="554" y="154"/>
                  </a:moveTo>
                  <a:lnTo>
                    <a:pt x="508" y="157"/>
                  </a:lnTo>
                  <a:lnTo>
                    <a:pt x="463" y="167"/>
                  </a:lnTo>
                  <a:lnTo>
                    <a:pt x="418" y="181"/>
                  </a:lnTo>
                  <a:lnTo>
                    <a:pt x="375" y="202"/>
                  </a:lnTo>
                  <a:lnTo>
                    <a:pt x="334" y="227"/>
                  </a:lnTo>
                  <a:lnTo>
                    <a:pt x="296" y="257"/>
                  </a:lnTo>
                  <a:lnTo>
                    <a:pt x="260" y="291"/>
                  </a:lnTo>
                  <a:lnTo>
                    <a:pt x="231" y="329"/>
                  </a:lnTo>
                  <a:lnTo>
                    <a:pt x="205" y="369"/>
                  </a:lnTo>
                  <a:lnTo>
                    <a:pt x="184" y="411"/>
                  </a:lnTo>
                  <a:lnTo>
                    <a:pt x="170" y="455"/>
                  </a:lnTo>
                  <a:lnTo>
                    <a:pt x="158" y="500"/>
                  </a:lnTo>
                  <a:lnTo>
                    <a:pt x="153" y="546"/>
                  </a:lnTo>
                  <a:lnTo>
                    <a:pt x="153" y="592"/>
                  </a:lnTo>
                  <a:lnTo>
                    <a:pt x="157" y="639"/>
                  </a:lnTo>
                  <a:lnTo>
                    <a:pt x="166" y="685"/>
                  </a:lnTo>
                  <a:lnTo>
                    <a:pt x="181" y="729"/>
                  </a:lnTo>
                  <a:lnTo>
                    <a:pt x="200" y="773"/>
                  </a:lnTo>
                  <a:lnTo>
                    <a:pt x="225" y="814"/>
                  </a:lnTo>
                  <a:lnTo>
                    <a:pt x="255" y="853"/>
                  </a:lnTo>
                  <a:lnTo>
                    <a:pt x="289" y="888"/>
                  </a:lnTo>
                  <a:lnTo>
                    <a:pt x="326" y="918"/>
                  </a:lnTo>
                  <a:lnTo>
                    <a:pt x="366" y="943"/>
                  </a:lnTo>
                  <a:lnTo>
                    <a:pt x="408" y="964"/>
                  </a:lnTo>
                  <a:lnTo>
                    <a:pt x="451" y="980"/>
                  </a:lnTo>
                  <a:lnTo>
                    <a:pt x="497" y="990"/>
                  </a:lnTo>
                  <a:lnTo>
                    <a:pt x="542" y="996"/>
                  </a:lnTo>
                  <a:lnTo>
                    <a:pt x="589" y="997"/>
                  </a:lnTo>
                  <a:lnTo>
                    <a:pt x="634" y="992"/>
                  </a:lnTo>
                  <a:lnTo>
                    <a:pt x="680" y="983"/>
                  </a:lnTo>
                  <a:lnTo>
                    <a:pt x="724" y="968"/>
                  </a:lnTo>
                  <a:lnTo>
                    <a:pt x="767" y="949"/>
                  </a:lnTo>
                  <a:lnTo>
                    <a:pt x="808" y="924"/>
                  </a:lnTo>
                  <a:lnTo>
                    <a:pt x="847" y="894"/>
                  </a:lnTo>
                  <a:lnTo>
                    <a:pt x="882" y="860"/>
                  </a:lnTo>
                  <a:lnTo>
                    <a:pt x="912" y="822"/>
                  </a:lnTo>
                  <a:lnTo>
                    <a:pt x="937" y="782"/>
                  </a:lnTo>
                  <a:lnTo>
                    <a:pt x="957" y="740"/>
                  </a:lnTo>
                  <a:lnTo>
                    <a:pt x="973" y="695"/>
                  </a:lnTo>
                  <a:lnTo>
                    <a:pt x="984" y="650"/>
                  </a:lnTo>
                  <a:lnTo>
                    <a:pt x="990" y="605"/>
                  </a:lnTo>
                  <a:lnTo>
                    <a:pt x="990" y="558"/>
                  </a:lnTo>
                  <a:lnTo>
                    <a:pt x="985" y="512"/>
                  </a:lnTo>
                  <a:lnTo>
                    <a:pt x="976" y="466"/>
                  </a:lnTo>
                  <a:lnTo>
                    <a:pt x="962" y="422"/>
                  </a:lnTo>
                  <a:lnTo>
                    <a:pt x="942" y="378"/>
                  </a:lnTo>
                  <a:lnTo>
                    <a:pt x="917" y="337"/>
                  </a:lnTo>
                  <a:lnTo>
                    <a:pt x="888" y="298"/>
                  </a:lnTo>
                  <a:lnTo>
                    <a:pt x="854" y="262"/>
                  </a:lnTo>
                  <a:lnTo>
                    <a:pt x="816" y="232"/>
                  </a:lnTo>
                  <a:lnTo>
                    <a:pt x="776" y="206"/>
                  </a:lnTo>
                  <a:lnTo>
                    <a:pt x="734" y="186"/>
                  </a:lnTo>
                  <a:lnTo>
                    <a:pt x="691" y="170"/>
                  </a:lnTo>
                  <a:lnTo>
                    <a:pt x="646" y="159"/>
                  </a:lnTo>
                  <a:lnTo>
                    <a:pt x="600" y="154"/>
                  </a:lnTo>
                  <a:lnTo>
                    <a:pt x="554" y="154"/>
                  </a:lnTo>
                  <a:close/>
                  <a:moveTo>
                    <a:pt x="556" y="0"/>
                  </a:moveTo>
                  <a:lnTo>
                    <a:pt x="610" y="2"/>
                  </a:lnTo>
                  <a:lnTo>
                    <a:pt x="665" y="8"/>
                  </a:lnTo>
                  <a:lnTo>
                    <a:pt x="718" y="20"/>
                  </a:lnTo>
                  <a:lnTo>
                    <a:pt x="771" y="37"/>
                  </a:lnTo>
                  <a:lnTo>
                    <a:pt x="822" y="59"/>
                  </a:lnTo>
                  <a:lnTo>
                    <a:pt x="871" y="85"/>
                  </a:lnTo>
                  <a:lnTo>
                    <a:pt x="917" y="118"/>
                  </a:lnTo>
                  <a:lnTo>
                    <a:pt x="962" y="155"/>
                  </a:lnTo>
                  <a:lnTo>
                    <a:pt x="1001" y="197"/>
                  </a:lnTo>
                  <a:lnTo>
                    <a:pt x="1038" y="243"/>
                  </a:lnTo>
                  <a:lnTo>
                    <a:pt x="1067" y="290"/>
                  </a:lnTo>
                  <a:lnTo>
                    <a:pt x="1092" y="340"/>
                  </a:lnTo>
                  <a:lnTo>
                    <a:pt x="1113" y="392"/>
                  </a:lnTo>
                  <a:lnTo>
                    <a:pt x="1128" y="444"/>
                  </a:lnTo>
                  <a:lnTo>
                    <a:pt x="1137" y="497"/>
                  </a:lnTo>
                  <a:lnTo>
                    <a:pt x="1141" y="551"/>
                  </a:lnTo>
                  <a:lnTo>
                    <a:pt x="1141" y="606"/>
                  </a:lnTo>
                  <a:lnTo>
                    <a:pt x="1135" y="660"/>
                  </a:lnTo>
                  <a:lnTo>
                    <a:pt x="1125" y="712"/>
                  </a:lnTo>
                  <a:lnTo>
                    <a:pt x="1109" y="765"/>
                  </a:lnTo>
                  <a:lnTo>
                    <a:pt x="1090" y="815"/>
                  </a:lnTo>
                  <a:lnTo>
                    <a:pt x="1065" y="864"/>
                  </a:lnTo>
                  <a:lnTo>
                    <a:pt x="1034" y="910"/>
                  </a:lnTo>
                  <a:lnTo>
                    <a:pt x="1000" y="955"/>
                  </a:lnTo>
                  <a:lnTo>
                    <a:pt x="1667" y="1726"/>
                  </a:lnTo>
                  <a:lnTo>
                    <a:pt x="1679" y="1743"/>
                  </a:lnTo>
                  <a:lnTo>
                    <a:pt x="1684" y="1763"/>
                  </a:lnTo>
                  <a:lnTo>
                    <a:pt x="1685" y="1782"/>
                  </a:lnTo>
                  <a:lnTo>
                    <a:pt x="1682" y="1800"/>
                  </a:lnTo>
                  <a:lnTo>
                    <a:pt x="1674" y="1819"/>
                  </a:lnTo>
                  <a:lnTo>
                    <a:pt x="1660" y="1833"/>
                  </a:lnTo>
                  <a:lnTo>
                    <a:pt x="1643" y="1845"/>
                  </a:lnTo>
                  <a:lnTo>
                    <a:pt x="1624" y="1852"/>
                  </a:lnTo>
                  <a:lnTo>
                    <a:pt x="1605" y="1853"/>
                  </a:lnTo>
                  <a:lnTo>
                    <a:pt x="1587" y="1848"/>
                  </a:lnTo>
                  <a:lnTo>
                    <a:pt x="1568" y="1840"/>
                  </a:lnTo>
                  <a:lnTo>
                    <a:pt x="1554" y="1827"/>
                  </a:lnTo>
                  <a:lnTo>
                    <a:pt x="885" y="1054"/>
                  </a:lnTo>
                  <a:lnTo>
                    <a:pt x="838" y="1083"/>
                  </a:lnTo>
                  <a:lnTo>
                    <a:pt x="788" y="1107"/>
                  </a:lnTo>
                  <a:lnTo>
                    <a:pt x="735" y="1125"/>
                  </a:lnTo>
                  <a:lnTo>
                    <a:pt x="683" y="1139"/>
                  </a:lnTo>
                  <a:lnTo>
                    <a:pt x="630" y="1147"/>
                  </a:lnTo>
                  <a:lnTo>
                    <a:pt x="576" y="1149"/>
                  </a:lnTo>
                  <a:lnTo>
                    <a:pt x="523" y="1148"/>
                  </a:lnTo>
                  <a:lnTo>
                    <a:pt x="470" y="1140"/>
                  </a:lnTo>
                  <a:lnTo>
                    <a:pt x="417" y="1129"/>
                  </a:lnTo>
                  <a:lnTo>
                    <a:pt x="366" y="1111"/>
                  </a:lnTo>
                  <a:lnTo>
                    <a:pt x="316" y="1090"/>
                  </a:lnTo>
                  <a:lnTo>
                    <a:pt x="268" y="1062"/>
                  </a:lnTo>
                  <a:lnTo>
                    <a:pt x="223" y="1031"/>
                  </a:lnTo>
                  <a:lnTo>
                    <a:pt x="180" y="995"/>
                  </a:lnTo>
                  <a:lnTo>
                    <a:pt x="140" y="952"/>
                  </a:lnTo>
                  <a:lnTo>
                    <a:pt x="105" y="907"/>
                  </a:lnTo>
                  <a:lnTo>
                    <a:pt x="74" y="857"/>
                  </a:lnTo>
                  <a:lnTo>
                    <a:pt x="48" y="807"/>
                  </a:lnTo>
                  <a:lnTo>
                    <a:pt x="29" y="754"/>
                  </a:lnTo>
                  <a:lnTo>
                    <a:pt x="14" y="701"/>
                  </a:lnTo>
                  <a:lnTo>
                    <a:pt x="5" y="646"/>
                  </a:lnTo>
                  <a:lnTo>
                    <a:pt x="0" y="591"/>
                  </a:lnTo>
                  <a:lnTo>
                    <a:pt x="1" y="536"/>
                  </a:lnTo>
                  <a:lnTo>
                    <a:pt x="8" y="481"/>
                  </a:lnTo>
                  <a:lnTo>
                    <a:pt x="20" y="427"/>
                  </a:lnTo>
                  <a:lnTo>
                    <a:pt x="37" y="373"/>
                  </a:lnTo>
                  <a:lnTo>
                    <a:pt x="58" y="322"/>
                  </a:lnTo>
                  <a:lnTo>
                    <a:pt x="85" y="273"/>
                  </a:lnTo>
                  <a:lnTo>
                    <a:pt x="117" y="226"/>
                  </a:lnTo>
                  <a:lnTo>
                    <a:pt x="154" y="182"/>
                  </a:lnTo>
                  <a:lnTo>
                    <a:pt x="196" y="141"/>
                  </a:lnTo>
                  <a:lnTo>
                    <a:pt x="242" y="105"/>
                  </a:lnTo>
                  <a:lnTo>
                    <a:pt x="290" y="74"/>
                  </a:lnTo>
                  <a:lnTo>
                    <a:pt x="341" y="48"/>
                  </a:lnTo>
                  <a:lnTo>
                    <a:pt x="393" y="29"/>
                  </a:lnTo>
                  <a:lnTo>
                    <a:pt x="447" y="14"/>
                  </a:lnTo>
                  <a:lnTo>
                    <a:pt x="500" y="5"/>
                  </a:lnTo>
                  <a:lnTo>
                    <a:pt x="5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dirty="0">
                <a:solidFill>
                  <a:prstClr val="black"/>
                </a:solidFill>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993466097"/>
      </p:ext>
    </p:extLst>
  </p:cSld>
  <p:clrMapOvr>
    <a:masterClrMapping/>
  </p:clrMapOvr>
  <p:extLst mod="1">
    <p:ext uri="{DCECCB84-F9BA-43D5-87BE-67443E8EF086}">
      <p15:sldGuideLst xmlns:p15="http://schemas.microsoft.com/office/powerpoint/2012/main">
        <p15:guide id="1" orient="horz" pos="2160">
          <p15:clr>
            <a:srgbClr val="FBAE40"/>
          </p15:clr>
        </p15:guide>
        <p15:guide id="2" pos="3774">
          <p15:clr>
            <a:srgbClr val="FBAE40"/>
          </p15:clr>
        </p15:guide>
        <p15:guide id="3" orient="horz" pos="2712">
          <p15:clr>
            <a:srgbClr val="FBAE40"/>
          </p15:clr>
        </p15:guide>
        <p15:guide id="4" orient="horz" pos="-2">
          <p15:clr>
            <a:srgbClr val="FBAE40"/>
          </p15:clr>
        </p15:guide>
        <p15:guide id="5" pos="7675">
          <p15:clr>
            <a:srgbClr val="FBAE40"/>
          </p15:clr>
        </p15:guide>
        <p15:guide id="6" pos="7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ant slide 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050254"/>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9090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ne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833C5-71AC-48E2-821A-35B48D24FCB2}"/>
              </a:ext>
            </a:extLst>
          </p:cNvPr>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Agenda</a:t>
            </a:r>
          </a:p>
        </p:txBody>
      </p:sp>
      <p:sp>
        <p:nvSpPr>
          <p:cNvPr id="6" name="Slide Number Placeholder 5">
            <a:extLst>
              <a:ext uri="{FF2B5EF4-FFF2-40B4-BE49-F238E27FC236}">
                <a16:creationId xmlns:a16="http://schemas.microsoft.com/office/drawing/2014/main" id="{2288C948-D230-4AAD-9040-40D237A30F6C}"/>
              </a:ext>
            </a:extLst>
          </p:cNvPr>
          <p:cNvSpPr txBox="1">
            <a:spLocks/>
          </p:cNvSpPr>
          <p:nvPr userDrawn="1"/>
        </p:nvSpPr>
        <p:spPr>
          <a:xfrm>
            <a:off x="84300"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
        <p:nvSpPr>
          <p:cNvPr id="5" name="Pentagon 4"/>
          <p:cNvSpPr/>
          <p:nvPr/>
        </p:nvSpPr>
        <p:spPr>
          <a:xfrm>
            <a:off x="1801667" y="1262121"/>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7" name="Pentagon 6"/>
          <p:cNvSpPr/>
          <p:nvPr/>
        </p:nvSpPr>
        <p:spPr>
          <a:xfrm>
            <a:off x="1798889" y="217215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8" name="Pentagon 7"/>
          <p:cNvSpPr/>
          <p:nvPr/>
        </p:nvSpPr>
        <p:spPr>
          <a:xfrm>
            <a:off x="1798888" y="3085055"/>
            <a:ext cx="7696047" cy="697597"/>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9" name="Pentagon 8"/>
          <p:cNvSpPr/>
          <p:nvPr/>
        </p:nvSpPr>
        <p:spPr>
          <a:xfrm flipV="1">
            <a:off x="1796570" y="4906893"/>
            <a:ext cx="6687030"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0" name="Pentagon 9"/>
          <p:cNvSpPr/>
          <p:nvPr/>
        </p:nvSpPr>
        <p:spPr>
          <a:xfrm flipV="1">
            <a:off x="1802683" y="3996862"/>
            <a:ext cx="6274248" cy="688985"/>
          </a:xfrm>
          <a:prstGeom prst="homePlate">
            <a:avLst>
              <a:gd name="adj" fmla="val 30833"/>
            </a:avLst>
          </a:prstGeom>
          <a:solidFill>
            <a:schemeClr val="accent1">
              <a:lumMod val="20000"/>
              <a:lumOff val="80000"/>
            </a:schemeClr>
          </a:solidFill>
          <a:ln>
            <a:noFill/>
          </a:ln>
          <a:effectLst>
            <a:outerShdw blurRad="50800" dist="38100" dir="5400000" algn="t" rotWithShape="0">
              <a:schemeClr val="accent2">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1" name="Round Same Side Corner Rectangle 12"/>
          <p:cNvSpPr/>
          <p:nvPr/>
        </p:nvSpPr>
        <p:spPr>
          <a:xfrm rot="16200000">
            <a:off x="674435" y="899619"/>
            <a:ext cx="777977" cy="917343"/>
          </a:xfrm>
          <a:custGeom>
            <a:avLst/>
            <a:gdLst>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1734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 name="connsiteX0" fmla="*/ 64837 w 777977"/>
              <a:gd name="connsiteY0" fmla="*/ 0 h 917343"/>
              <a:gd name="connsiteX1" fmla="*/ 713140 w 777977"/>
              <a:gd name="connsiteY1" fmla="*/ 0 h 917343"/>
              <a:gd name="connsiteX2" fmla="*/ 777977 w 777977"/>
              <a:gd name="connsiteY2" fmla="*/ 64837 h 917343"/>
              <a:gd name="connsiteX3" fmla="*/ 777977 w 777977"/>
              <a:gd name="connsiteY3" fmla="*/ 917343 h 917343"/>
              <a:gd name="connsiteX4" fmla="*/ 777977 w 777977"/>
              <a:gd name="connsiteY4" fmla="*/ 909723 h 917343"/>
              <a:gd name="connsiteX5" fmla="*/ 0 w 777977"/>
              <a:gd name="connsiteY5" fmla="*/ 917343 h 917343"/>
              <a:gd name="connsiteX6" fmla="*/ 0 w 777977"/>
              <a:gd name="connsiteY6" fmla="*/ 917343 h 917343"/>
              <a:gd name="connsiteX7" fmla="*/ 0 w 777977"/>
              <a:gd name="connsiteY7" fmla="*/ 64837 h 917343"/>
              <a:gd name="connsiteX8" fmla="*/ 64837 w 777977"/>
              <a:gd name="connsiteY8" fmla="*/ 0 h 91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7977" h="917343">
                <a:moveTo>
                  <a:pt x="64837" y="0"/>
                </a:moveTo>
                <a:lnTo>
                  <a:pt x="713140" y="0"/>
                </a:lnTo>
                <a:cubicBezTo>
                  <a:pt x="748948" y="0"/>
                  <a:pt x="777977" y="29029"/>
                  <a:pt x="777977" y="64837"/>
                </a:cubicBezTo>
                <a:lnTo>
                  <a:pt x="777977" y="917343"/>
                </a:lnTo>
                <a:lnTo>
                  <a:pt x="777977" y="909723"/>
                </a:lnTo>
                <a:lnTo>
                  <a:pt x="0" y="917343"/>
                </a:lnTo>
                <a:lnTo>
                  <a:pt x="0" y="917343"/>
                </a:lnTo>
                <a:lnTo>
                  <a:pt x="0" y="64837"/>
                </a:lnTo>
                <a:cubicBezTo>
                  <a:pt x="0" y="29029"/>
                  <a:pt x="29029" y="0"/>
                  <a:pt x="6483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1</a:t>
            </a:r>
          </a:p>
        </p:txBody>
      </p:sp>
      <p:sp>
        <p:nvSpPr>
          <p:cNvPr id="12" name="Freeform 11"/>
          <p:cNvSpPr/>
          <p:nvPr/>
        </p:nvSpPr>
        <p:spPr>
          <a:xfrm>
            <a:off x="1508971" y="966431"/>
            <a:ext cx="292696"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825" h="819150">
                <a:moveTo>
                  <a:pt x="0" y="0"/>
                </a:moveTo>
                <a:lnTo>
                  <a:pt x="250825" y="238070"/>
                </a:lnTo>
                <a:lnTo>
                  <a:pt x="250825" y="819150"/>
                </a:lnTo>
                <a:lnTo>
                  <a:pt x="8731" y="654865"/>
                </a:lnTo>
                <a:cubicBezTo>
                  <a:pt x="6614" y="444257"/>
                  <a:pt x="11642" y="226483"/>
                  <a:pt x="0"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3" name="Round Same Side Corner Rectangle 12"/>
          <p:cNvSpPr/>
          <p:nvPr/>
        </p:nvSpPr>
        <p:spPr>
          <a:xfrm rot="16200000">
            <a:off x="672506" y="1932154"/>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2</a:t>
            </a:r>
          </a:p>
        </p:txBody>
      </p:sp>
      <p:sp>
        <p:nvSpPr>
          <p:cNvPr id="14" name="Freeform 13"/>
          <p:cNvSpPr/>
          <p:nvPr/>
        </p:nvSpPr>
        <p:spPr>
          <a:xfrm>
            <a:off x="1518235" y="1994166"/>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5" name="Round Same Side Corner Rectangle 14"/>
          <p:cNvSpPr/>
          <p:nvPr/>
        </p:nvSpPr>
        <p:spPr>
          <a:xfrm rot="16200000">
            <a:off x="667408" y="2962759"/>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3</a:t>
            </a:r>
          </a:p>
        </p:txBody>
      </p:sp>
      <p:sp>
        <p:nvSpPr>
          <p:cNvPr id="16" name="Freeform 15"/>
          <p:cNvSpPr/>
          <p:nvPr/>
        </p:nvSpPr>
        <p:spPr>
          <a:xfrm>
            <a:off x="1512677" y="3027640"/>
            <a:ext cx="289188" cy="780848"/>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673"/>
              <a:gd name="connsiteY0" fmla="*/ 0 h 719137"/>
              <a:gd name="connsiteX1" fmla="*/ 247673 w 247673"/>
              <a:gd name="connsiteY1" fmla="*/ 47625 h 719137"/>
              <a:gd name="connsiteX2" fmla="*/ 238125 w 247673"/>
              <a:gd name="connsiteY2" fmla="*/ 719137 h 719137"/>
              <a:gd name="connsiteX3" fmla="*/ 0 w 247673"/>
              <a:gd name="connsiteY3" fmla="*/ 647700 h 719137"/>
              <a:gd name="connsiteX4" fmla="*/ 0 w 247673"/>
              <a:gd name="connsiteY4" fmla="*/ 0 h 719137"/>
              <a:gd name="connsiteX0" fmla="*/ 0 w 247673"/>
              <a:gd name="connsiteY0" fmla="*/ 0 h 647700"/>
              <a:gd name="connsiteX1" fmla="*/ 247673 w 247673"/>
              <a:gd name="connsiteY1" fmla="*/ 47625 h 647700"/>
              <a:gd name="connsiteX2" fmla="*/ 245338 w 247673"/>
              <a:gd name="connsiteY2" fmla="*/ 588168 h 647700"/>
              <a:gd name="connsiteX3" fmla="*/ 0 w 247673"/>
              <a:gd name="connsiteY3" fmla="*/ 647700 h 647700"/>
              <a:gd name="connsiteX4" fmla="*/ 0 w 247673"/>
              <a:gd name="connsiteY4" fmla="*/ 0 h 647700"/>
              <a:gd name="connsiteX0" fmla="*/ 0 w 252617"/>
              <a:gd name="connsiteY0" fmla="*/ 0 h 647700"/>
              <a:gd name="connsiteX1" fmla="*/ 247673 w 252617"/>
              <a:gd name="connsiteY1" fmla="*/ 47625 h 647700"/>
              <a:gd name="connsiteX2" fmla="*/ 252552 w 252617"/>
              <a:gd name="connsiteY2" fmla="*/ 623887 h 647700"/>
              <a:gd name="connsiteX3" fmla="*/ 0 w 252617"/>
              <a:gd name="connsiteY3" fmla="*/ 647700 h 647700"/>
              <a:gd name="connsiteX4" fmla="*/ 0 w 252617"/>
              <a:gd name="connsiteY4" fmla="*/ 0 h 647700"/>
              <a:gd name="connsiteX0" fmla="*/ 0 w 250248"/>
              <a:gd name="connsiteY0" fmla="*/ 0 h 647700"/>
              <a:gd name="connsiteX1" fmla="*/ 247673 w 250248"/>
              <a:gd name="connsiteY1" fmla="*/ 47625 h 647700"/>
              <a:gd name="connsiteX2" fmla="*/ 250148 w 250248"/>
              <a:gd name="connsiteY2" fmla="*/ 626268 h 647700"/>
              <a:gd name="connsiteX3" fmla="*/ 0 w 250248"/>
              <a:gd name="connsiteY3" fmla="*/ 647700 h 647700"/>
              <a:gd name="connsiteX4" fmla="*/ 0 w 250248"/>
              <a:gd name="connsiteY4" fmla="*/ 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248" h="647700">
                <a:moveTo>
                  <a:pt x="0" y="0"/>
                </a:moveTo>
                <a:lnTo>
                  <a:pt x="247673" y="47625"/>
                </a:lnTo>
                <a:cubicBezTo>
                  <a:pt x="246895" y="227806"/>
                  <a:pt x="250926" y="446087"/>
                  <a:pt x="250148" y="626268"/>
                </a:cubicBez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7" name="Round Same Side Corner Rectangle 16"/>
          <p:cNvSpPr/>
          <p:nvPr/>
        </p:nvSpPr>
        <p:spPr>
          <a:xfrm rot="5400000" flipV="1">
            <a:off x="673235" y="5042498"/>
            <a:ext cx="780848"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5</a:t>
            </a:r>
          </a:p>
        </p:txBody>
      </p:sp>
      <p:sp>
        <p:nvSpPr>
          <p:cNvPr id="18" name="Freeform 17"/>
          <p:cNvSpPr/>
          <p:nvPr/>
        </p:nvSpPr>
        <p:spPr>
          <a:xfrm flipV="1">
            <a:off x="1514839" y="4906896"/>
            <a:ext cx="296338" cy="984673"/>
          </a:xfrm>
          <a:custGeom>
            <a:avLst/>
            <a:gdLst>
              <a:gd name="connsiteX0" fmla="*/ 0 w 250825"/>
              <a:gd name="connsiteY0" fmla="*/ 0 h 819150"/>
              <a:gd name="connsiteX1" fmla="*/ 250825 w 250825"/>
              <a:gd name="connsiteY1" fmla="*/ 257175 h 819150"/>
              <a:gd name="connsiteX2" fmla="*/ 250825 w 250825"/>
              <a:gd name="connsiteY2" fmla="*/ 819150 h 819150"/>
              <a:gd name="connsiteX3" fmla="*/ 15875 w 250825"/>
              <a:gd name="connsiteY3" fmla="*/ 647700 h 819150"/>
              <a:gd name="connsiteX4" fmla="*/ 0 w 250825"/>
              <a:gd name="connsiteY4" fmla="*/ 0 h 819150"/>
              <a:gd name="connsiteX0" fmla="*/ 0 w 250825"/>
              <a:gd name="connsiteY0" fmla="*/ 0 h 819150"/>
              <a:gd name="connsiteX1" fmla="*/ 250825 w 250825"/>
              <a:gd name="connsiteY1" fmla="*/ 257175 h 819150"/>
              <a:gd name="connsiteX2" fmla="*/ 250825 w 250825"/>
              <a:gd name="connsiteY2" fmla="*/ 819150 h 819150"/>
              <a:gd name="connsiteX3" fmla="*/ 8731 w 250825"/>
              <a:gd name="connsiteY3" fmla="*/ 654865 h 819150"/>
              <a:gd name="connsiteX4" fmla="*/ 0 w 250825"/>
              <a:gd name="connsiteY4" fmla="*/ 0 h 819150"/>
              <a:gd name="connsiteX0" fmla="*/ 0 w 250825"/>
              <a:gd name="connsiteY0" fmla="*/ 0 h 819150"/>
              <a:gd name="connsiteX1" fmla="*/ 250825 w 250825"/>
              <a:gd name="connsiteY1" fmla="*/ 238070 h 819150"/>
              <a:gd name="connsiteX2" fmla="*/ 250825 w 250825"/>
              <a:gd name="connsiteY2" fmla="*/ 819150 h 819150"/>
              <a:gd name="connsiteX3" fmla="*/ 8731 w 250825"/>
              <a:gd name="connsiteY3" fmla="*/ 654865 h 819150"/>
              <a:gd name="connsiteX4" fmla="*/ 0 w 250825"/>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8731 w 252457"/>
              <a:gd name="connsiteY3" fmla="*/ 654865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0 w 252457"/>
              <a:gd name="connsiteY0" fmla="*/ 0 h 819150"/>
              <a:gd name="connsiteX1" fmla="*/ 252457 w 252457"/>
              <a:gd name="connsiteY1" fmla="*/ 244409 h 819150"/>
              <a:gd name="connsiteX2" fmla="*/ 250825 w 252457"/>
              <a:gd name="connsiteY2" fmla="*/ 819150 h 819150"/>
              <a:gd name="connsiteX3" fmla="*/ 2201 w 252457"/>
              <a:gd name="connsiteY3" fmla="*/ 659619 h 819150"/>
              <a:gd name="connsiteX4" fmla="*/ 0 w 252457"/>
              <a:gd name="connsiteY4" fmla="*/ 0 h 819150"/>
              <a:gd name="connsiteX0" fmla="*/ 1489 w 253946"/>
              <a:gd name="connsiteY0" fmla="*/ 0 h 819150"/>
              <a:gd name="connsiteX1" fmla="*/ 253946 w 253946"/>
              <a:gd name="connsiteY1" fmla="*/ 244409 h 819150"/>
              <a:gd name="connsiteX2" fmla="*/ 252314 w 253946"/>
              <a:gd name="connsiteY2" fmla="*/ 819150 h 819150"/>
              <a:gd name="connsiteX3" fmla="*/ 425 w 253946"/>
              <a:gd name="connsiteY3" fmla="*/ 650110 h 819150"/>
              <a:gd name="connsiteX4" fmla="*/ 1489 w 253946"/>
              <a:gd name="connsiteY4" fmla="*/ 0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46" h="819150">
                <a:moveTo>
                  <a:pt x="1489" y="0"/>
                </a:moveTo>
                <a:lnTo>
                  <a:pt x="253946" y="244409"/>
                </a:lnTo>
                <a:lnTo>
                  <a:pt x="252314" y="819150"/>
                </a:lnTo>
                <a:lnTo>
                  <a:pt x="425" y="650110"/>
                </a:lnTo>
                <a:cubicBezTo>
                  <a:pt x="-1692" y="439502"/>
                  <a:pt x="4968" y="68006"/>
                  <a:pt x="1489" y="0"/>
                </a:cubicBez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19" name="Round Same Side Corner Rectangle 18"/>
          <p:cNvSpPr/>
          <p:nvPr/>
        </p:nvSpPr>
        <p:spPr>
          <a:xfrm rot="5400000" flipV="1">
            <a:off x="676300" y="4012361"/>
            <a:ext cx="777977" cy="913485"/>
          </a:xfrm>
          <a:prstGeom prst="round2SameRect">
            <a:avLst>
              <a:gd name="adj1" fmla="val 8334"/>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2400" b="1" kern="1200" dirty="0">
                <a:solidFill>
                  <a:prstClr val="white"/>
                </a:solidFill>
                <a:latin typeface="Arial" panose="020B0604020202020204" pitchFamily="34" charset="0"/>
                <a:cs typeface="Arial" panose="020B0604020202020204" pitchFamily="34" charset="0"/>
              </a:rPr>
              <a:t>04</a:t>
            </a:r>
          </a:p>
        </p:txBody>
      </p:sp>
      <p:sp>
        <p:nvSpPr>
          <p:cNvPr id="20" name="Freeform 19"/>
          <p:cNvSpPr/>
          <p:nvPr/>
        </p:nvSpPr>
        <p:spPr>
          <a:xfrm flipV="1">
            <a:off x="1522030" y="3993993"/>
            <a:ext cx="283596" cy="869841"/>
          </a:xfrm>
          <a:custGeom>
            <a:avLst/>
            <a:gdLst>
              <a:gd name="connsiteX0" fmla="*/ 0 w 245268"/>
              <a:gd name="connsiteY0" fmla="*/ 0 h 719137"/>
              <a:gd name="connsiteX1" fmla="*/ 245268 w 245268"/>
              <a:gd name="connsiteY1" fmla="*/ 145256 h 719137"/>
              <a:gd name="connsiteX2" fmla="*/ 238125 w 245268"/>
              <a:gd name="connsiteY2" fmla="*/ 719137 h 719137"/>
              <a:gd name="connsiteX3" fmla="*/ 0 w 245268"/>
              <a:gd name="connsiteY3" fmla="*/ 647700 h 719137"/>
              <a:gd name="connsiteX4" fmla="*/ 0 w 245268"/>
              <a:gd name="connsiteY4" fmla="*/ 0 h 719137"/>
              <a:gd name="connsiteX0" fmla="*/ 0 w 247839"/>
              <a:gd name="connsiteY0" fmla="*/ 0 h 723899"/>
              <a:gd name="connsiteX1" fmla="*/ 245268 w 247839"/>
              <a:gd name="connsiteY1" fmla="*/ 145256 h 723899"/>
              <a:gd name="connsiteX2" fmla="*/ 247839 w 247839"/>
              <a:gd name="connsiteY2" fmla="*/ 723899 h 723899"/>
              <a:gd name="connsiteX3" fmla="*/ 0 w 247839"/>
              <a:gd name="connsiteY3" fmla="*/ 647700 h 723899"/>
              <a:gd name="connsiteX4" fmla="*/ 0 w 247839"/>
              <a:gd name="connsiteY4" fmla="*/ 0 h 723899"/>
              <a:gd name="connsiteX0" fmla="*/ 0 w 247839"/>
              <a:gd name="connsiteY0" fmla="*/ 0 h 721518"/>
              <a:gd name="connsiteX1" fmla="*/ 245268 w 247839"/>
              <a:gd name="connsiteY1" fmla="*/ 145256 h 721518"/>
              <a:gd name="connsiteX2" fmla="*/ 247839 w 247839"/>
              <a:gd name="connsiteY2" fmla="*/ 721518 h 721518"/>
              <a:gd name="connsiteX3" fmla="*/ 0 w 247839"/>
              <a:gd name="connsiteY3" fmla="*/ 647700 h 721518"/>
              <a:gd name="connsiteX4" fmla="*/ 0 w 247839"/>
              <a:gd name="connsiteY4" fmla="*/ 0 h 72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9" h="721518">
                <a:moveTo>
                  <a:pt x="0" y="0"/>
                </a:moveTo>
                <a:lnTo>
                  <a:pt x="245268" y="145256"/>
                </a:lnTo>
                <a:lnTo>
                  <a:pt x="247839" y="721518"/>
                </a:lnTo>
                <a:lnTo>
                  <a:pt x="0" y="647700"/>
                </a:lnTo>
                <a:lnTo>
                  <a:pt x="0" y="0"/>
                </a:lnTo>
                <a:close/>
              </a:path>
            </a:pathLst>
          </a:cu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1" name="Oval 20"/>
          <p:cNvSpPr/>
          <p:nvPr/>
        </p:nvSpPr>
        <p:spPr>
          <a:xfrm>
            <a:off x="7718189" y="134755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2" name="Oval 21"/>
          <p:cNvSpPr/>
          <p:nvPr/>
        </p:nvSpPr>
        <p:spPr>
          <a:xfrm>
            <a:off x="7327029" y="2257584"/>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3" name="Oval 22"/>
          <p:cNvSpPr/>
          <p:nvPr/>
        </p:nvSpPr>
        <p:spPr>
          <a:xfrm>
            <a:off x="8729109" y="3174793"/>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4" name="Oval 23"/>
          <p:cNvSpPr/>
          <p:nvPr/>
        </p:nvSpPr>
        <p:spPr>
          <a:xfrm>
            <a:off x="7327029" y="4082295"/>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5" name="Oval 24"/>
          <p:cNvSpPr/>
          <p:nvPr/>
        </p:nvSpPr>
        <p:spPr>
          <a:xfrm>
            <a:off x="7718189" y="4992326"/>
            <a:ext cx="518124" cy="518120"/>
          </a:xfrm>
          <a:prstGeom prst="ellipse">
            <a:avLst/>
          </a:prstGeom>
          <a:solidFill>
            <a:schemeClr val="bg1">
              <a:lumMod val="95000"/>
            </a:schemeClr>
          </a:solidFill>
          <a:ln>
            <a:noFill/>
          </a:ln>
          <a:effectLst>
            <a:innerShdw blurRad="38100" dist="254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6" name="Content Placeholder 10"/>
          <p:cNvSpPr>
            <a:spLocks noGrp="1"/>
          </p:cNvSpPr>
          <p:nvPr>
            <p:ph sz="quarter" idx="11" hasCustomPrompt="1"/>
          </p:nvPr>
        </p:nvSpPr>
        <p:spPr>
          <a:xfrm>
            <a:off x="1886481" y="129428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7" name="Content Placeholder 10"/>
          <p:cNvSpPr>
            <a:spLocks noGrp="1"/>
          </p:cNvSpPr>
          <p:nvPr>
            <p:ph sz="quarter" idx="12" hasCustomPrompt="1"/>
          </p:nvPr>
        </p:nvSpPr>
        <p:spPr>
          <a:xfrm>
            <a:off x="1886481" y="2204320"/>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8" name="Content Placeholder 10"/>
          <p:cNvSpPr>
            <a:spLocks noGrp="1"/>
          </p:cNvSpPr>
          <p:nvPr>
            <p:ph sz="quarter" idx="13" hasCustomPrompt="1"/>
          </p:nvPr>
        </p:nvSpPr>
        <p:spPr>
          <a:xfrm>
            <a:off x="1886481" y="3121529"/>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29" name="Content Placeholder 10"/>
          <p:cNvSpPr>
            <a:spLocks noGrp="1"/>
          </p:cNvSpPr>
          <p:nvPr>
            <p:ph sz="quarter" idx="14" hasCustomPrompt="1"/>
          </p:nvPr>
        </p:nvSpPr>
        <p:spPr>
          <a:xfrm>
            <a:off x="1886481" y="4029031"/>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
        <p:nvSpPr>
          <p:cNvPr id="30" name="Content Placeholder 10"/>
          <p:cNvSpPr>
            <a:spLocks noGrp="1"/>
          </p:cNvSpPr>
          <p:nvPr>
            <p:ph sz="quarter" idx="15" hasCustomPrompt="1"/>
          </p:nvPr>
        </p:nvSpPr>
        <p:spPr>
          <a:xfrm>
            <a:off x="1886481" y="4939062"/>
            <a:ext cx="4110084" cy="624648"/>
          </a:xfrm>
        </p:spPr>
        <p:txBody>
          <a:bodyPr anchor="ctr">
            <a:noAutofit/>
          </a:bodyPr>
          <a:lstStyle>
            <a:lvl1pPr marL="0" indent="0" algn="l">
              <a:buNone/>
              <a:defRPr sz="2400">
                <a:solidFill>
                  <a:schemeClr val="tx1"/>
                </a:solidFill>
                <a:latin typeface="Arial" panose="020B0604020202020204" pitchFamily="34" charset="0"/>
                <a:cs typeface="Arial" panose="020B0604020202020204" pitchFamily="34" charset="0"/>
              </a:defRPr>
            </a:lvl1pPr>
            <a:lvl5pPr>
              <a:defRPr/>
            </a:lvl5pPr>
          </a:lstStyle>
          <a:p>
            <a:pPr lvl="0"/>
            <a:r>
              <a:rPr lang="en-US" dirty="0"/>
              <a:t>Click add text</a:t>
            </a:r>
          </a:p>
        </p:txBody>
      </p:sp>
    </p:spTree>
    <p:extLst>
      <p:ext uri="{BB962C8B-B14F-4D97-AF65-F5344CB8AC3E}">
        <p14:creationId xmlns:p14="http://schemas.microsoft.com/office/powerpoint/2010/main" val="400406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E04F1E14-4077-49CE-BE30-F1B862333BB7}"/>
              </a:ext>
            </a:extLst>
          </p:cNvPr>
          <p:cNvSpPr txBox="1">
            <a:spLocks/>
          </p:cNvSpPr>
          <p:nvPr userDrawn="1"/>
        </p:nvSpPr>
        <p:spPr>
          <a:xfrm>
            <a:off x="84302" y="6527800"/>
            <a:ext cx="228600" cy="177800"/>
          </a:xfrm>
          <a:prstGeom prst="rect">
            <a:avLst/>
          </a:prstGeom>
          <a:solidFill>
            <a:srgbClr val="BFBFBF"/>
          </a:solidFill>
        </p:spPr>
        <p:txBody>
          <a:bodyPr wrap="none" lIns="0" tIns="0" rIns="0" bIns="0" anchor="ctr" anchorCtr="0"/>
          <a:lstStyle>
            <a:defPPr>
              <a:defRPr lang="en-US"/>
            </a:defPPr>
            <a:lvl1pPr marL="0" algn="ctr"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6739A3-A001-4132-AECF-E1735C6210C2}" type="slidenum">
              <a:rPr lang="en-US" b="1" smtClean="0">
                <a:solidFill>
                  <a:prstClr val="black"/>
                </a:solidFill>
                <a:latin typeface="Arial" panose="020B0604020202020204" pitchFamily="34" charset="0"/>
                <a:cs typeface="Arial" panose="020B0604020202020204" pitchFamily="34" charset="0"/>
              </a:rPr>
              <a:pPr/>
              <a:t>‹#›</a:t>
            </a:fld>
            <a:endParaRPr lang="en-US"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2171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8.xml"/><Relationship Id="rId7" Type="http://schemas.openxmlformats.org/officeDocument/2006/relationships/oleObject" Target="../embeddings/oleObject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9.emf"/><Relationship Id="rId4" Type="http://schemas.openxmlformats.org/officeDocument/2006/relationships/theme" Target="../theme/theme2.xml"/><Relationship Id="rId9" Type="http://schemas.openxmlformats.org/officeDocument/2006/relationships/image" Target="../media/image8.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4CC82F69-6481-4FDB-B80F-F69D48C67F0C}"/>
              </a:ext>
            </a:extLst>
          </p:cNvPr>
          <p:cNvSpPr/>
          <p:nvPr userDrawn="1"/>
        </p:nvSpPr>
        <p:spPr>
          <a:xfrm>
            <a:off x="0" y="0"/>
            <a:ext cx="12192000" cy="526198"/>
          </a:xfrm>
          <a:prstGeom prst="roundRect">
            <a:avLst>
              <a:gd name="adj" fmla="val 0"/>
            </a:avLst>
          </a:prstGeom>
          <a:gradFill>
            <a:gsLst>
              <a:gs pos="0">
                <a:srgbClr val="052049"/>
              </a:gs>
              <a:gs pos="90000">
                <a:srgbClr val="1957A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latin typeface="Arial" panose="020B0604020202020204" pitchFamily="34" charset="0"/>
            </a:endParaRPr>
          </a:p>
        </p:txBody>
      </p:sp>
      <p:sp>
        <p:nvSpPr>
          <p:cNvPr id="2" name="Title Placeholder 1">
            <a:extLst>
              <a:ext uri="{FF2B5EF4-FFF2-40B4-BE49-F238E27FC236}">
                <a16:creationId xmlns:a16="http://schemas.microsoft.com/office/drawing/2014/main" id="{84944053-C2CE-4A8F-8254-E00EEBFA86F0}"/>
              </a:ext>
            </a:extLst>
          </p:cNvPr>
          <p:cNvSpPr>
            <a:spLocks noGrp="1"/>
          </p:cNvSpPr>
          <p:nvPr>
            <p:ph type="title"/>
          </p:nvPr>
        </p:nvSpPr>
        <p:spPr>
          <a:xfrm>
            <a:off x="599655" y="58925"/>
            <a:ext cx="10940304" cy="40834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BF476DF-F9BA-4DC2-9DF5-0B38E68B3170}"/>
              </a:ext>
            </a:extLst>
          </p:cNvPr>
          <p:cNvSpPr>
            <a:spLocks noGrp="1"/>
          </p:cNvSpPr>
          <p:nvPr>
            <p:ph type="body" idx="1"/>
          </p:nvPr>
        </p:nvSpPr>
        <p:spPr>
          <a:xfrm>
            <a:off x="219076" y="1123951"/>
            <a:ext cx="11744324" cy="489585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Rounded Corners 10">
            <a:extLst>
              <a:ext uri="{FF2B5EF4-FFF2-40B4-BE49-F238E27FC236}">
                <a16:creationId xmlns:a16="http://schemas.microsoft.com/office/drawing/2014/main" id="{D8011362-B18C-424D-A9DF-C8A495F0FC03}"/>
              </a:ext>
            </a:extLst>
          </p:cNvPr>
          <p:cNvSpPr/>
          <p:nvPr userDrawn="1"/>
        </p:nvSpPr>
        <p:spPr>
          <a:xfrm flipH="1">
            <a:off x="11037890" y="6196877"/>
            <a:ext cx="1149348" cy="656012"/>
          </a:xfrm>
          <a:prstGeom prst="roundRect">
            <a:avLst>
              <a:gd name="adj" fmla="val 0"/>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kern="1200" dirty="0">
              <a:solidFill>
                <a:prstClr val="black"/>
              </a:solidFill>
              <a:latin typeface="Arial" panose="020B0604020202020204" pitchFamily="34" charset="0"/>
            </a:endParaRPr>
          </a:p>
        </p:txBody>
      </p:sp>
      <p:sp>
        <p:nvSpPr>
          <p:cNvPr id="13" name="Slide Number Placeholder 5">
            <a:extLst>
              <a:ext uri="{FF2B5EF4-FFF2-40B4-BE49-F238E27FC236}">
                <a16:creationId xmlns:a16="http://schemas.microsoft.com/office/drawing/2014/main" id="{C4D7D9BC-1ED0-404A-9BA4-C76BC0FBAE02}"/>
              </a:ext>
            </a:extLst>
          </p:cNvPr>
          <p:cNvSpPr>
            <a:spLocks noGrp="1"/>
          </p:cNvSpPr>
          <p:nvPr>
            <p:ph type="sldNum" sz="quarter" idx="4"/>
          </p:nvPr>
        </p:nvSpPr>
        <p:spPr>
          <a:xfrm>
            <a:off x="121650" y="6527800"/>
            <a:ext cx="228600" cy="177800"/>
          </a:xfrm>
          <a:prstGeom prst="rect">
            <a:avLst/>
          </a:prstGeom>
          <a:solidFill>
            <a:srgbClr val="BFBFBF"/>
          </a:solidFill>
        </p:spPr>
        <p:txBody>
          <a:bodyPr wrap="none" lIns="0" tIns="0" rIns="0" bIns="0" anchor="ctr" anchorCtr="0"/>
          <a:lstStyle>
            <a:lvl1pPr algn="ctr">
              <a:defRPr sz="800" b="1">
                <a:solidFill>
                  <a:schemeClr val="tx1"/>
                </a:solidFill>
                <a:latin typeface="Arial" panose="020B0604020202020204" pitchFamily="34" charset="0"/>
                <a:cs typeface="Arial" panose="020B0604020202020204" pitchFamily="34" charset="0"/>
              </a:defRPr>
            </a:lvl1pPr>
          </a:lstStyle>
          <a:p>
            <a:fld id="{BA6739A3-A001-4132-AECF-E1735C6210C2}" type="slidenum">
              <a:rPr lang="en-US" kern="1200" smtClean="0">
                <a:solidFill>
                  <a:prstClr val="black"/>
                </a:solidFill>
                <a:ea typeface="+mn-ea"/>
              </a:rPr>
              <a:pPr/>
              <a:t>‹#›</a:t>
            </a:fld>
            <a:endParaRPr lang="en-US" kern="1200" dirty="0">
              <a:solidFill>
                <a:prstClr val="black"/>
              </a:solidFill>
              <a:ea typeface="+mn-ea"/>
            </a:endParaRPr>
          </a:p>
        </p:txBody>
      </p:sp>
      <p:pic>
        <p:nvPicPr>
          <p:cNvPr id="14" name="Picture 13">
            <a:extLst>
              <a:ext uri="{FF2B5EF4-FFF2-40B4-BE49-F238E27FC236}">
                <a16:creationId xmlns:a16="http://schemas.microsoft.com/office/drawing/2014/main" id="{ED0CB488-30EA-4015-9174-1E0A80F1A15A}"/>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695009" y="5850030"/>
            <a:ext cx="1418240" cy="1002859"/>
          </a:xfrm>
          <a:prstGeom prst="rect">
            <a:avLst/>
          </a:prstGeom>
        </p:spPr>
      </p:pic>
    </p:spTree>
    <p:extLst>
      <p:ext uri="{BB962C8B-B14F-4D97-AF65-F5344CB8AC3E}">
        <p14:creationId xmlns:p14="http://schemas.microsoft.com/office/powerpoint/2010/main" val="71229646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60" r:id="rId14"/>
    <p:sldLayoutId id="2147483683" r:id="rId15"/>
  </p:sldLayoutIdLst>
  <p:hf hdr="0"/>
  <p:txStyles>
    <p:titleStyle>
      <a:lvl1pPr algn="ctr" defTabSz="914400" rtl="0" eaLnBrk="1" latinLnBrk="0" hangingPunct="1">
        <a:lnSpc>
          <a:spcPct val="90000"/>
        </a:lnSpc>
        <a:spcBef>
          <a:spcPct val="0"/>
        </a:spcBef>
        <a:buNone/>
        <a:defRPr sz="28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4572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9144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7536">
          <p15:clr>
            <a:srgbClr val="F26B43"/>
          </p15:clr>
        </p15:guide>
        <p15:guide id="3" pos="1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nvPr>
        </p:nvGraphicFramePr>
        <p:xfrm>
          <a:off x="2121" y="2121"/>
          <a:ext cx="2116" cy="2116"/>
        </p:xfrm>
        <a:graphic>
          <a:graphicData uri="http://schemas.openxmlformats.org/presentationml/2006/ole">
            <mc:AlternateContent xmlns:mc="http://schemas.openxmlformats.org/markup-compatibility/2006">
              <mc:Choice xmlns:v="urn:schemas-microsoft-com:vml" Requires="v">
                <p:oleObj spid="_x0000_s1157"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2121" y="2121"/>
                        <a:ext cx="2116" cy="2116"/>
                      </a:xfrm>
                      <a:prstGeom prst="rect">
                        <a:avLst/>
                      </a:prstGeom>
                    </p:spPr>
                  </p:pic>
                </p:oleObj>
              </mc:Fallback>
            </mc:AlternateContent>
          </a:graphicData>
        </a:graphic>
      </p:graphicFrame>
      <p:pic>
        <p:nvPicPr>
          <p:cNvPr id="8" name="Picture 7"/>
          <p:cNvPicPr preferRelativeResize="0">
            <a:picLocks/>
          </p:cNvPicPr>
          <p:nvPr userDrawn="1"/>
        </p:nvPicPr>
        <p:blipFill>
          <a:blip r:embed="rId9" cstate="email">
            <a:extLst>
              <a:ext uri="{28A0092B-C50C-407E-A947-70E740481C1C}">
                <a14:useLocalDpi xmlns:a14="http://schemas.microsoft.com/office/drawing/2010/main"/>
              </a:ext>
            </a:extLst>
          </a:blip>
          <a:stretch>
            <a:fillRect/>
          </a:stretch>
        </p:blipFill>
        <p:spPr>
          <a:xfrm>
            <a:off x="3" y="201169"/>
            <a:ext cx="12191999" cy="384048"/>
          </a:xfrm>
          <a:prstGeom prst="rect">
            <a:avLst/>
          </a:prstGeom>
        </p:spPr>
      </p:pic>
      <p:sp>
        <p:nvSpPr>
          <p:cNvPr id="9" name="Slide Number Placeholder 14"/>
          <p:cNvSpPr>
            <a:spLocks noGrp="1"/>
          </p:cNvSpPr>
          <p:nvPr>
            <p:ph type="sldNum" sz="quarter" idx="4"/>
          </p:nvPr>
        </p:nvSpPr>
        <p:spPr>
          <a:xfrm>
            <a:off x="11257940" y="6492876"/>
            <a:ext cx="934065" cy="365125"/>
          </a:xfrm>
          <a:prstGeom prst="rect">
            <a:avLst/>
          </a:prstGeom>
        </p:spPr>
        <p:txBody>
          <a:bodyPr lIns="91430" tIns="45715" rIns="91430" bIns="45715"/>
          <a:lstStyle>
            <a:lvl1pPr>
              <a:defRPr lang="en-US" sz="1467" smtClean="0"/>
            </a:lvl1pPr>
          </a:lstStyle>
          <a:p>
            <a:pPr fontAlgn="base">
              <a:spcBef>
                <a:spcPct val="0"/>
              </a:spcBef>
              <a:spcAft>
                <a:spcPct val="0"/>
              </a:spcAft>
            </a:pPr>
            <a:fld id="{017F978A-4048-4358-9343-69F8E58C9EF5}" type="slidenum">
              <a:rPr lang="en-IN">
                <a:solidFill>
                  <a:prstClr val="black"/>
                </a:solidFill>
                <a:latin typeface="Arial" pitchFamily="34" charset="0"/>
                <a:cs typeface="Arial" pitchFamily="34" charset="0"/>
              </a:rPr>
              <a:pPr fontAlgn="base">
                <a:spcBef>
                  <a:spcPct val="0"/>
                </a:spcBef>
                <a:spcAft>
                  <a:spcPct val="0"/>
                </a:spcAft>
              </a:pPr>
              <a:t>‹#›</a:t>
            </a:fld>
            <a:endParaRPr lang="en-IN">
              <a:solidFill>
                <a:prstClr val="black"/>
              </a:solidFill>
              <a:latin typeface="Arial" pitchFamily="34" charset="0"/>
              <a:cs typeface="Arial" pitchFamily="34" charset="0"/>
            </a:endParaRPr>
          </a:p>
        </p:txBody>
      </p:sp>
      <p:sp>
        <p:nvSpPr>
          <p:cNvPr id="10" name="Rectangle 9"/>
          <p:cNvSpPr/>
          <p:nvPr userDrawn="1"/>
        </p:nvSpPr>
        <p:spPr>
          <a:xfrm>
            <a:off x="10763251" y="20035"/>
            <a:ext cx="1219200" cy="841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7" tIns="60953" rIns="121907" bIns="60953" rtlCol="0" anchor="ctr"/>
          <a:lstStyle/>
          <a:p>
            <a:pPr algn="ctr" fontAlgn="base">
              <a:spcBef>
                <a:spcPct val="0"/>
              </a:spcBef>
              <a:spcAft>
                <a:spcPct val="0"/>
              </a:spcAft>
            </a:pPr>
            <a:endParaRPr lang="en-IN" sz="2400">
              <a:solidFill>
                <a:prstClr val="white"/>
              </a:solidFill>
            </a:endParaRPr>
          </a:p>
        </p:txBody>
      </p:sp>
      <p:pic>
        <p:nvPicPr>
          <p:cNvPr id="11" name="Picture 10"/>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791309" y="34550"/>
            <a:ext cx="1181623" cy="871657"/>
          </a:xfrm>
          <a:prstGeom prst="rect">
            <a:avLst/>
          </a:prstGeom>
        </p:spPr>
      </p:pic>
      <p:sp>
        <p:nvSpPr>
          <p:cNvPr id="12" name="Footer Placeholder 4">
            <a:extLst>
              <a:ext uri="{FF2B5EF4-FFF2-40B4-BE49-F238E27FC236}">
                <a16:creationId xmlns:a16="http://schemas.microsoft.com/office/drawing/2014/main" id="{2983E211-5213-4681-8E3B-8A9EC47660E0}"/>
              </a:ext>
            </a:extLst>
          </p:cNvPr>
          <p:cNvSpPr>
            <a:spLocks noGrp="1"/>
          </p:cNvSpPr>
          <p:nvPr>
            <p:ph type="ftr" sz="quarter" idx="3"/>
          </p:nvPr>
        </p:nvSpPr>
        <p:spPr>
          <a:xfrm>
            <a:off x="5" y="6573223"/>
            <a:ext cx="960092" cy="256535"/>
          </a:xfrm>
          <a:prstGeom prst="rect">
            <a:avLst/>
          </a:prstGeom>
        </p:spPr>
        <p:txBody>
          <a:bodyPr wrap="square" lIns="91430" tIns="45715" rIns="91430" bIns="45715">
            <a:spAutoFit/>
          </a:bodyPr>
          <a:lstStyle>
            <a:lvl1pPr>
              <a:defRPr sz="1067"/>
            </a:lvl1pPr>
          </a:lstStyle>
          <a:p>
            <a:pPr fontAlgn="base">
              <a:spcBef>
                <a:spcPct val="0"/>
              </a:spcBef>
              <a:spcAft>
                <a:spcPct val="0"/>
              </a:spcAft>
            </a:pPr>
            <a:r>
              <a:rPr lang="en-US">
                <a:solidFill>
                  <a:prstClr val="black"/>
                </a:solidFill>
                <a:latin typeface="Arial" pitchFamily="34" charset="0"/>
                <a:cs typeface="Arial" pitchFamily="34" charset="0"/>
              </a:rPr>
              <a:t>Confidential</a:t>
            </a:r>
          </a:p>
        </p:txBody>
      </p:sp>
    </p:spTree>
    <p:extLst>
      <p:ext uri="{BB962C8B-B14F-4D97-AF65-F5344CB8AC3E}">
        <p14:creationId xmlns:p14="http://schemas.microsoft.com/office/powerpoint/2010/main" val="233365327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defTabSz="91427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9" indent="-228569" algn="l" defTabSz="91427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04" indent="-228569" algn="l" defTabSz="91427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41" indent="-228569" algn="l" defTabSz="91427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77"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4pPr>
      <a:lvl5pPr marL="2057114"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5pPr>
      <a:lvl6pPr marL="2514249"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6pPr>
      <a:lvl7pPr marL="2971386"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7pPr>
      <a:lvl8pPr marL="3428522"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8pPr>
      <a:lvl9pPr marL="3885658" indent="-228569" algn="l" defTabSz="914272"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9pPr>
    </p:bodyStyle>
    <p:otherStyle>
      <a:defPPr>
        <a:defRPr lang="en-US"/>
      </a:defPPr>
      <a:lvl1pPr marL="0" algn="l" defTabSz="914272" rtl="0" eaLnBrk="1" latinLnBrk="0" hangingPunct="1">
        <a:defRPr sz="1733" kern="1200">
          <a:solidFill>
            <a:schemeClr val="tx1"/>
          </a:solidFill>
          <a:latin typeface="+mn-lt"/>
          <a:ea typeface="+mn-ea"/>
          <a:cs typeface="+mn-cs"/>
        </a:defRPr>
      </a:lvl1pPr>
      <a:lvl2pPr marL="457137" algn="l" defTabSz="914272" rtl="0" eaLnBrk="1" latinLnBrk="0" hangingPunct="1">
        <a:defRPr sz="1733" kern="1200">
          <a:solidFill>
            <a:schemeClr val="tx1"/>
          </a:solidFill>
          <a:latin typeface="+mn-lt"/>
          <a:ea typeface="+mn-ea"/>
          <a:cs typeface="+mn-cs"/>
        </a:defRPr>
      </a:lvl2pPr>
      <a:lvl3pPr marL="914272" algn="l" defTabSz="914272" rtl="0" eaLnBrk="1" latinLnBrk="0" hangingPunct="1">
        <a:defRPr sz="1733" kern="1200">
          <a:solidFill>
            <a:schemeClr val="tx1"/>
          </a:solidFill>
          <a:latin typeface="+mn-lt"/>
          <a:ea typeface="+mn-ea"/>
          <a:cs typeface="+mn-cs"/>
        </a:defRPr>
      </a:lvl3pPr>
      <a:lvl4pPr marL="1371408" algn="l" defTabSz="914272" rtl="0" eaLnBrk="1" latinLnBrk="0" hangingPunct="1">
        <a:defRPr sz="1733" kern="1200">
          <a:solidFill>
            <a:schemeClr val="tx1"/>
          </a:solidFill>
          <a:latin typeface="+mn-lt"/>
          <a:ea typeface="+mn-ea"/>
          <a:cs typeface="+mn-cs"/>
        </a:defRPr>
      </a:lvl4pPr>
      <a:lvl5pPr marL="1828545" algn="l" defTabSz="914272" rtl="0" eaLnBrk="1" latinLnBrk="0" hangingPunct="1">
        <a:defRPr sz="1733" kern="1200">
          <a:solidFill>
            <a:schemeClr val="tx1"/>
          </a:solidFill>
          <a:latin typeface="+mn-lt"/>
          <a:ea typeface="+mn-ea"/>
          <a:cs typeface="+mn-cs"/>
        </a:defRPr>
      </a:lvl5pPr>
      <a:lvl6pPr marL="2285682" algn="l" defTabSz="914272" rtl="0" eaLnBrk="1" latinLnBrk="0" hangingPunct="1">
        <a:defRPr sz="1733" kern="1200">
          <a:solidFill>
            <a:schemeClr val="tx1"/>
          </a:solidFill>
          <a:latin typeface="+mn-lt"/>
          <a:ea typeface="+mn-ea"/>
          <a:cs typeface="+mn-cs"/>
        </a:defRPr>
      </a:lvl6pPr>
      <a:lvl7pPr marL="2742817" algn="l" defTabSz="914272" rtl="0" eaLnBrk="1" latinLnBrk="0" hangingPunct="1">
        <a:defRPr sz="1733" kern="1200">
          <a:solidFill>
            <a:schemeClr val="tx1"/>
          </a:solidFill>
          <a:latin typeface="+mn-lt"/>
          <a:ea typeface="+mn-ea"/>
          <a:cs typeface="+mn-cs"/>
        </a:defRPr>
      </a:lvl7pPr>
      <a:lvl8pPr marL="3199955" algn="l" defTabSz="914272" rtl="0" eaLnBrk="1" latinLnBrk="0" hangingPunct="1">
        <a:defRPr sz="1733" kern="1200">
          <a:solidFill>
            <a:schemeClr val="tx1"/>
          </a:solidFill>
          <a:latin typeface="+mn-lt"/>
          <a:ea typeface="+mn-ea"/>
          <a:cs typeface="+mn-cs"/>
        </a:defRPr>
      </a:lvl8pPr>
      <a:lvl9pPr marL="3657090" algn="l" defTabSz="914272"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emf"/><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Shape 174"/>
          <p:cNvSpPr txBox="1">
            <a:spLocks noGrp="1"/>
          </p:cNvSpPr>
          <p:nvPr>
            <p:ph type="title"/>
          </p:nvPr>
        </p:nvSpPr>
        <p:spPr>
          <a:xfrm>
            <a:off x="599655" y="58925"/>
            <a:ext cx="10940304" cy="408349"/>
          </a:xfrm>
          <a:prstGeom prst="rect">
            <a:avLst/>
          </a:prstGeom>
          <a:noFill/>
          <a:ln>
            <a:noFill/>
          </a:ln>
        </p:spPr>
        <p:txBody>
          <a:bodyPr wrap="square" lIns="91425" tIns="45700" rIns="91425" bIns="45700" anchor="ctr" anchorCtr="0">
            <a:noAutofit/>
          </a:bodyPr>
          <a:lstStyle/>
          <a:p>
            <a:pPr lvl="0" indent="-177800">
              <a:spcBef>
                <a:spcPts val="0"/>
              </a:spcBef>
              <a:buClr>
                <a:schemeClr val="lt1"/>
              </a:buClr>
              <a:buSzPct val="100000"/>
            </a:pPr>
            <a:r>
              <a:rPr lang="en-US" dirty="0">
                <a:solidFill>
                  <a:schemeClr val="lt1"/>
                </a:solidFill>
                <a:ea typeface="Arial"/>
                <a:sym typeface="Arial"/>
              </a:rPr>
              <a:t>Big data migration to cloud for ProSieben</a:t>
            </a:r>
            <a:endParaRPr lang="en-US" sz="2800" b="0" i="0" u="none" strike="noStrike" cap="none" dirty="0">
              <a:solidFill>
                <a:schemeClr val="lt1"/>
              </a:solidFill>
              <a:ea typeface="Arial"/>
              <a:sym typeface="Arial"/>
            </a:endParaRPr>
          </a:p>
        </p:txBody>
      </p:sp>
      <p:sp>
        <p:nvSpPr>
          <p:cNvPr id="35" name="Rounded Rectangle 4">
            <a:extLst>
              <a:ext uri="{FF2B5EF4-FFF2-40B4-BE49-F238E27FC236}">
                <a16:creationId xmlns:a16="http://schemas.microsoft.com/office/drawing/2014/main" id="{2B0C2E4B-F20A-4A0E-9737-69D84A0BAB99}"/>
              </a:ext>
            </a:extLst>
          </p:cNvPr>
          <p:cNvSpPr/>
          <p:nvPr/>
        </p:nvSpPr>
        <p:spPr>
          <a:xfrm>
            <a:off x="249311" y="760221"/>
            <a:ext cx="679354" cy="411363"/>
          </a:xfrm>
          <a:prstGeom prst="homePlate">
            <a:avLst>
              <a:gd name="adj" fmla="val 23380"/>
            </a:avLst>
          </a:prstGeom>
          <a:solidFill>
            <a:schemeClr val="tx2">
              <a:alpha val="87843"/>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5" tIns="91363" rIns="182725" bIns="91363" numCol="1" spcCol="0" rtlCol="0" fromWordArt="0" anchor="ctr" anchorCtr="0" forceAA="0" compatLnSpc="1">
            <a:prstTxWarp prst="textNoShape">
              <a:avLst/>
            </a:prstTxWarp>
            <a:noAutofit/>
          </a:bodyPr>
          <a:lstStyle/>
          <a:p>
            <a:pPr algn="ctr" defTabSz="913237" fontAlgn="base">
              <a:spcBef>
                <a:spcPct val="0"/>
              </a:spcBef>
              <a:spcAft>
                <a:spcPts val="1200"/>
              </a:spcAft>
              <a:defRPr/>
            </a:pPr>
            <a:endParaRPr lang="en-US" sz="1400" b="1" kern="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
        <p:nvSpPr>
          <p:cNvPr id="36" name="Rounded Rectangle 4">
            <a:extLst>
              <a:ext uri="{FF2B5EF4-FFF2-40B4-BE49-F238E27FC236}">
                <a16:creationId xmlns:a16="http://schemas.microsoft.com/office/drawing/2014/main" id="{08847FB2-811B-483E-8A15-7A91EED4E3F1}"/>
              </a:ext>
            </a:extLst>
          </p:cNvPr>
          <p:cNvSpPr/>
          <p:nvPr/>
        </p:nvSpPr>
        <p:spPr>
          <a:xfrm>
            <a:off x="249310" y="760221"/>
            <a:ext cx="5568067" cy="411363"/>
          </a:xfrm>
          <a:prstGeom prst="rect">
            <a:avLst/>
          </a:prstGeom>
          <a:solidFill>
            <a:schemeClr val="tx2">
              <a:alpha val="87843"/>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5" tIns="91363" rIns="182725" bIns="91363" numCol="1" spcCol="0" rtlCol="0" fromWordArt="0" anchor="ctr" anchorCtr="0" forceAA="0" compatLnSpc="1">
            <a:prstTxWarp prst="textNoShape">
              <a:avLst/>
            </a:prstTxWarp>
            <a:noAutofit/>
          </a:bodyPr>
          <a:lstStyle/>
          <a:p>
            <a:pPr algn="ctr" defTabSz="913237" fontAlgn="base">
              <a:spcBef>
                <a:spcPct val="0"/>
              </a:spcBef>
              <a:spcAft>
                <a:spcPts val="1200"/>
              </a:spcAft>
              <a:defRPr/>
            </a:pPr>
            <a:r>
              <a:rPr lang="en-US" sz="1400" b="1" kern="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Problem Statement</a:t>
            </a:r>
          </a:p>
        </p:txBody>
      </p:sp>
      <p:sp>
        <p:nvSpPr>
          <p:cNvPr id="37" name="Rounded Rectangle 4">
            <a:extLst>
              <a:ext uri="{FF2B5EF4-FFF2-40B4-BE49-F238E27FC236}">
                <a16:creationId xmlns:a16="http://schemas.microsoft.com/office/drawing/2014/main" id="{8A65A015-5F91-4035-9DC2-021FBC460832}"/>
              </a:ext>
            </a:extLst>
          </p:cNvPr>
          <p:cNvSpPr/>
          <p:nvPr/>
        </p:nvSpPr>
        <p:spPr>
          <a:xfrm>
            <a:off x="233081" y="2711047"/>
            <a:ext cx="684671" cy="373966"/>
          </a:xfrm>
          <a:prstGeom prst="homePlate">
            <a:avLst>
              <a:gd name="adj" fmla="val 23380"/>
            </a:avLst>
          </a:prstGeom>
          <a:solidFill>
            <a:schemeClr val="tx2">
              <a:alpha val="87843"/>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5" tIns="91363" rIns="182725" bIns="91363" numCol="1" spcCol="0" rtlCol="0" fromWordArt="0" anchor="ctr" anchorCtr="0" forceAA="0" compatLnSpc="1">
            <a:prstTxWarp prst="textNoShape">
              <a:avLst/>
            </a:prstTxWarp>
            <a:noAutofit/>
          </a:bodyPr>
          <a:lstStyle/>
          <a:p>
            <a:pPr algn="ctr" defTabSz="913237" fontAlgn="base">
              <a:spcBef>
                <a:spcPct val="0"/>
              </a:spcBef>
              <a:spcAft>
                <a:spcPts val="1200"/>
              </a:spcAft>
              <a:defRPr/>
            </a:pPr>
            <a:endParaRPr lang="en-US" sz="1400" b="1" kern="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
        <p:nvSpPr>
          <p:cNvPr id="38" name="Rounded Rectangle 4">
            <a:extLst>
              <a:ext uri="{FF2B5EF4-FFF2-40B4-BE49-F238E27FC236}">
                <a16:creationId xmlns:a16="http://schemas.microsoft.com/office/drawing/2014/main" id="{23F75273-5E87-4AB3-9E69-BC0AD7BF103C}"/>
              </a:ext>
            </a:extLst>
          </p:cNvPr>
          <p:cNvSpPr/>
          <p:nvPr/>
        </p:nvSpPr>
        <p:spPr>
          <a:xfrm>
            <a:off x="230460" y="2700564"/>
            <a:ext cx="11506227" cy="411363"/>
          </a:xfrm>
          <a:prstGeom prst="rect">
            <a:avLst/>
          </a:prstGeom>
          <a:solidFill>
            <a:schemeClr val="tx2">
              <a:alpha val="87843"/>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5" tIns="91363" rIns="182725" bIns="91363" numCol="1" spcCol="0" rtlCol="0" fromWordArt="0" anchor="ctr" anchorCtr="0" forceAA="0" compatLnSpc="1">
            <a:prstTxWarp prst="textNoShape">
              <a:avLst/>
            </a:prstTxWarp>
            <a:noAutofit/>
          </a:bodyPr>
          <a:lstStyle/>
          <a:p>
            <a:pPr algn="ctr" defTabSz="913237" fontAlgn="base">
              <a:spcBef>
                <a:spcPct val="0"/>
              </a:spcBef>
              <a:spcAft>
                <a:spcPts val="1200"/>
              </a:spcAft>
              <a:defRPr/>
            </a:pPr>
            <a:r>
              <a:rPr lang="en-US" sz="1400" b="1" kern="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Benefits of Proposed Solution in AWS</a:t>
            </a:r>
          </a:p>
        </p:txBody>
      </p:sp>
      <p:sp>
        <p:nvSpPr>
          <p:cNvPr id="39" name="Rounded Rectangle 4">
            <a:extLst>
              <a:ext uri="{FF2B5EF4-FFF2-40B4-BE49-F238E27FC236}">
                <a16:creationId xmlns:a16="http://schemas.microsoft.com/office/drawing/2014/main" id="{6C2FD716-6D61-4D80-8672-84C24EC1AC0B}"/>
              </a:ext>
            </a:extLst>
          </p:cNvPr>
          <p:cNvSpPr>
            <a:spLocks/>
          </p:cNvSpPr>
          <p:nvPr/>
        </p:nvSpPr>
        <p:spPr>
          <a:xfrm>
            <a:off x="249310" y="1165123"/>
            <a:ext cx="5568067" cy="1323749"/>
          </a:xfrm>
          <a:prstGeom prst="rect">
            <a:avLst/>
          </a:prstGeom>
          <a:solidFill>
            <a:schemeClr val="bg1">
              <a:lumMod val="95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5" tIns="137043" rIns="182725" bIns="91363" numCol="1" spcCol="0" rtlCol="0" fromWordArt="0" anchor="t" anchorCtr="0" forceAA="0" compatLnSpc="1">
            <a:prstTxWarp prst="textNoShape">
              <a:avLst/>
            </a:prstTxWarp>
            <a:noAutofit/>
          </a:bodyPr>
          <a:lstStyle/>
          <a:p>
            <a:pPr marL="285750" indent="-285750" defTabSz="914102" fontAlgn="base">
              <a:lnSpc>
                <a:spcPct val="90000"/>
              </a:lnSpc>
              <a:spcBef>
                <a:spcPct val="0"/>
              </a:spcBef>
              <a:spcAft>
                <a:spcPct val="0"/>
              </a:spcAft>
              <a:buFont typeface="Arial" panose="020B0604020202020204" pitchFamily="34" charset="0"/>
              <a:buChar char="•"/>
              <a:defRPr/>
            </a:pPr>
            <a:r>
              <a:rPr lang="en-US" sz="1400" dirty="0">
                <a:solidFill>
                  <a:srgbClr val="505050"/>
                </a:solidFill>
                <a:latin typeface="Arial" panose="020B0604020202020204" pitchFamily="34" charset="0"/>
                <a:ea typeface="Segoe UI" pitchFamily="34" charset="0"/>
                <a:cs typeface="Arial" panose="020B0604020202020204" pitchFamily="34" charset="0"/>
              </a:rPr>
              <a:t>ProSieben data assets are currently stored in a centralized Hadoop cluster maintained by the IT team. Raw data hub is hosted in one of the nodes in this larger cluster. </a:t>
            </a:r>
          </a:p>
          <a:p>
            <a:pPr marL="285750" indent="-285750" defTabSz="914102" fontAlgn="base">
              <a:lnSpc>
                <a:spcPct val="90000"/>
              </a:lnSpc>
              <a:spcBef>
                <a:spcPct val="0"/>
              </a:spcBef>
              <a:spcAft>
                <a:spcPct val="0"/>
              </a:spcAft>
              <a:buFont typeface="Arial" panose="020B0604020202020204" pitchFamily="34" charset="0"/>
              <a:buChar char="•"/>
              <a:defRPr/>
            </a:pPr>
            <a:r>
              <a:rPr lang="en-US" sz="1400" dirty="0">
                <a:solidFill>
                  <a:srgbClr val="505050"/>
                </a:solidFill>
                <a:latin typeface="Arial" panose="020B0604020202020204" pitchFamily="34" charset="0"/>
                <a:ea typeface="Segoe UI" pitchFamily="34" charset="0"/>
                <a:cs typeface="Arial" panose="020B0604020202020204" pitchFamily="34" charset="0"/>
              </a:rPr>
              <a:t>This causes space constraints in the larger Hadoop cluster. RDH was using 9% of the total space on May 2018 but it has expanded into using 34% as on Oct 2018. </a:t>
            </a:r>
          </a:p>
          <a:p>
            <a:pPr defTabSz="914102" fontAlgn="base">
              <a:lnSpc>
                <a:spcPct val="90000"/>
              </a:lnSpc>
              <a:spcBef>
                <a:spcPct val="0"/>
              </a:spcBef>
              <a:spcAft>
                <a:spcPct val="0"/>
              </a:spcAft>
              <a:defRPr/>
            </a:pPr>
            <a:endParaRPr lang="en-US" sz="1400" dirty="0">
              <a:solidFill>
                <a:srgbClr val="505050"/>
              </a:solidFill>
              <a:latin typeface="Arial" panose="020B0604020202020204" pitchFamily="34" charset="0"/>
              <a:ea typeface="Segoe UI" pitchFamily="34" charset="0"/>
              <a:cs typeface="Arial" panose="020B0604020202020204" pitchFamily="34" charset="0"/>
            </a:endParaRPr>
          </a:p>
        </p:txBody>
      </p:sp>
      <p:sp>
        <p:nvSpPr>
          <p:cNvPr id="40" name="Freeform 6">
            <a:extLst>
              <a:ext uri="{FF2B5EF4-FFF2-40B4-BE49-F238E27FC236}">
                <a16:creationId xmlns:a16="http://schemas.microsoft.com/office/drawing/2014/main" id="{EB86ECDF-217F-4F11-8AEC-B68A6B0BB4F1}"/>
              </a:ext>
            </a:extLst>
          </p:cNvPr>
          <p:cNvSpPr>
            <a:spLocks noEditPoints="1"/>
          </p:cNvSpPr>
          <p:nvPr/>
        </p:nvSpPr>
        <p:spPr bwMode="auto">
          <a:xfrm>
            <a:off x="374114" y="2737747"/>
            <a:ext cx="321216" cy="320034"/>
          </a:xfrm>
          <a:custGeom>
            <a:avLst/>
            <a:gdLst>
              <a:gd name="T0" fmla="*/ 1195 w 1195"/>
              <a:gd name="T1" fmla="*/ 112 h 1191"/>
              <a:gd name="T2" fmla="*/ 1182 w 1195"/>
              <a:gd name="T3" fmla="*/ 98 h 1191"/>
              <a:gd name="T4" fmla="*/ 1110 w 1195"/>
              <a:gd name="T5" fmla="*/ 99 h 1191"/>
              <a:gd name="T6" fmla="*/ 1097 w 1195"/>
              <a:gd name="T7" fmla="*/ 86 h 1191"/>
              <a:gd name="T8" fmla="*/ 1098 w 1195"/>
              <a:gd name="T9" fmla="*/ 11 h 1191"/>
              <a:gd name="T10" fmla="*/ 1087 w 1195"/>
              <a:gd name="T11" fmla="*/ 1 h 1191"/>
              <a:gd name="T12" fmla="*/ 1015 w 1195"/>
              <a:gd name="T13" fmla="*/ 1 h 1191"/>
              <a:gd name="T14" fmla="*/ 1005 w 1195"/>
              <a:gd name="T15" fmla="*/ 11 h 1191"/>
              <a:gd name="T16" fmla="*/ 1005 w 1195"/>
              <a:gd name="T17" fmla="*/ 66 h 1191"/>
              <a:gd name="T18" fmla="*/ 1004 w 1195"/>
              <a:gd name="T19" fmla="*/ 66 h 1191"/>
              <a:gd name="T20" fmla="*/ 1002 w 1195"/>
              <a:gd name="T21" fmla="*/ 130 h 1191"/>
              <a:gd name="T22" fmla="*/ 960 w 1195"/>
              <a:gd name="T23" fmla="*/ 176 h 1191"/>
              <a:gd name="T24" fmla="*/ 930 w 1195"/>
              <a:gd name="T25" fmla="*/ 177 h 1191"/>
              <a:gd name="T26" fmla="*/ 508 w 1195"/>
              <a:gd name="T27" fmla="*/ 61 h 1191"/>
              <a:gd name="T28" fmla="*/ 150 w 1195"/>
              <a:gd name="T29" fmla="*/ 260 h 1191"/>
              <a:gd name="T30" fmla="*/ 34 w 1195"/>
              <a:gd name="T31" fmla="*/ 726 h 1191"/>
              <a:gd name="T32" fmla="*/ 227 w 1195"/>
              <a:gd name="T33" fmla="*/ 1048 h 1191"/>
              <a:gd name="T34" fmla="*/ 659 w 1195"/>
              <a:gd name="T35" fmla="*/ 1170 h 1191"/>
              <a:gd name="T36" fmla="*/ 897 w 1195"/>
              <a:gd name="T37" fmla="*/ 1079 h 1191"/>
              <a:gd name="T38" fmla="*/ 1135 w 1195"/>
              <a:gd name="T39" fmla="*/ 709 h 1191"/>
              <a:gd name="T40" fmla="*/ 1118 w 1195"/>
              <a:gd name="T41" fmla="*/ 450 h 1191"/>
              <a:gd name="T42" fmla="*/ 1019 w 1195"/>
              <a:gd name="T43" fmla="*/ 265 h 1191"/>
              <a:gd name="T44" fmla="*/ 1020 w 1195"/>
              <a:gd name="T45" fmla="*/ 245 h 1191"/>
              <a:gd name="T46" fmla="*/ 1066 w 1195"/>
              <a:gd name="T47" fmla="*/ 199 h 1191"/>
              <a:gd name="T48" fmla="*/ 1088 w 1195"/>
              <a:gd name="T49" fmla="*/ 190 h 1191"/>
              <a:gd name="T50" fmla="*/ 1181 w 1195"/>
              <a:gd name="T51" fmla="*/ 190 h 1191"/>
              <a:gd name="T52" fmla="*/ 1195 w 1195"/>
              <a:gd name="T53" fmla="*/ 178 h 1191"/>
              <a:gd name="T54" fmla="*/ 1195 w 1195"/>
              <a:gd name="T55" fmla="*/ 112 h 1191"/>
              <a:gd name="T56" fmla="*/ 1050 w 1195"/>
              <a:gd name="T57" fmla="*/ 635 h 1191"/>
              <a:gd name="T58" fmla="*/ 766 w 1195"/>
              <a:gd name="T59" fmla="*/ 1046 h 1191"/>
              <a:gd name="T60" fmla="*/ 583 w 1195"/>
              <a:gd name="T61" fmla="*/ 1084 h 1191"/>
              <a:gd name="T62" fmla="*/ 129 w 1195"/>
              <a:gd name="T63" fmla="*/ 729 h 1191"/>
              <a:gd name="T64" fmla="*/ 378 w 1195"/>
              <a:gd name="T65" fmla="*/ 195 h 1191"/>
              <a:gd name="T66" fmla="*/ 871 w 1195"/>
              <a:gd name="T67" fmla="*/ 246 h 1191"/>
              <a:gd name="T68" fmla="*/ 871 w 1195"/>
              <a:gd name="T69" fmla="*/ 264 h 1191"/>
              <a:gd name="T70" fmla="*/ 796 w 1195"/>
              <a:gd name="T71" fmla="*/ 339 h 1191"/>
              <a:gd name="T72" fmla="*/ 778 w 1195"/>
              <a:gd name="T73" fmla="*/ 340 h 1191"/>
              <a:gd name="T74" fmla="*/ 545 w 1195"/>
              <a:gd name="T75" fmla="*/ 280 h 1191"/>
              <a:gd name="T76" fmla="*/ 300 w 1195"/>
              <a:gd name="T77" fmla="*/ 431 h 1191"/>
              <a:gd name="T78" fmla="*/ 419 w 1195"/>
              <a:gd name="T79" fmla="*/ 911 h 1191"/>
              <a:gd name="T80" fmla="*/ 849 w 1195"/>
              <a:gd name="T81" fmla="*/ 823 h 1191"/>
              <a:gd name="T82" fmla="*/ 920 w 1195"/>
              <a:gd name="T83" fmla="*/ 592 h 1191"/>
              <a:gd name="T84" fmla="*/ 860 w 1195"/>
              <a:gd name="T85" fmla="*/ 423 h 1191"/>
              <a:gd name="T86" fmla="*/ 861 w 1195"/>
              <a:gd name="T87" fmla="*/ 403 h 1191"/>
              <a:gd name="T88" fmla="*/ 937 w 1195"/>
              <a:gd name="T89" fmla="*/ 328 h 1191"/>
              <a:gd name="T90" fmla="*/ 952 w 1195"/>
              <a:gd name="T91" fmla="*/ 328 h 1191"/>
              <a:gd name="T92" fmla="*/ 1050 w 1195"/>
              <a:gd name="T93" fmla="*/ 635 h 1191"/>
              <a:gd name="T94" fmla="*/ 528 w 1195"/>
              <a:gd name="T95" fmla="*/ 751 h 1191"/>
              <a:gd name="T96" fmla="*/ 728 w 1195"/>
              <a:gd name="T97" fmla="*/ 606 h 1191"/>
              <a:gd name="T98" fmla="*/ 716 w 1195"/>
              <a:gd name="T99" fmla="*/ 559 h 1191"/>
              <a:gd name="T100" fmla="*/ 717 w 1195"/>
              <a:gd name="T101" fmla="*/ 547 h 1191"/>
              <a:gd name="T102" fmla="*/ 785 w 1195"/>
              <a:gd name="T103" fmla="*/ 477 h 1191"/>
              <a:gd name="T104" fmla="*/ 735 w 1195"/>
              <a:gd name="T105" fmla="*/ 808 h 1191"/>
              <a:gd name="T106" fmla="*/ 404 w 1195"/>
              <a:gd name="T107" fmla="*/ 783 h 1191"/>
              <a:gd name="T108" fmla="*/ 404 w 1195"/>
              <a:gd name="T109" fmla="*/ 448 h 1191"/>
              <a:gd name="T110" fmla="*/ 720 w 1195"/>
              <a:gd name="T111" fmla="*/ 413 h 1191"/>
              <a:gd name="T112" fmla="*/ 653 w 1195"/>
              <a:gd name="T113" fmla="*/ 480 h 1191"/>
              <a:gd name="T114" fmla="*/ 639 w 1195"/>
              <a:gd name="T115" fmla="*/ 482 h 1191"/>
              <a:gd name="T116" fmla="*/ 468 w 1195"/>
              <a:gd name="T117" fmla="*/ 526 h 1191"/>
              <a:gd name="T118" fmla="*/ 528 w 1195"/>
              <a:gd name="T119" fmla="*/ 75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5" h="1191">
                <a:moveTo>
                  <a:pt x="1195" y="112"/>
                </a:moveTo>
                <a:cubicBezTo>
                  <a:pt x="1195" y="101"/>
                  <a:pt x="1193" y="98"/>
                  <a:pt x="1182" y="98"/>
                </a:cubicBezTo>
                <a:cubicBezTo>
                  <a:pt x="1158" y="99"/>
                  <a:pt x="1134" y="98"/>
                  <a:pt x="1110" y="99"/>
                </a:cubicBezTo>
                <a:cubicBezTo>
                  <a:pt x="1100" y="99"/>
                  <a:pt x="1097" y="97"/>
                  <a:pt x="1097" y="86"/>
                </a:cubicBezTo>
                <a:cubicBezTo>
                  <a:pt x="1098" y="61"/>
                  <a:pt x="1097" y="36"/>
                  <a:pt x="1098" y="11"/>
                </a:cubicBezTo>
                <a:cubicBezTo>
                  <a:pt x="1098" y="3"/>
                  <a:pt x="1095" y="0"/>
                  <a:pt x="1087" y="1"/>
                </a:cubicBezTo>
                <a:cubicBezTo>
                  <a:pt x="1063" y="1"/>
                  <a:pt x="1039" y="1"/>
                  <a:pt x="1015" y="1"/>
                </a:cubicBezTo>
                <a:cubicBezTo>
                  <a:pt x="1007" y="0"/>
                  <a:pt x="1005" y="3"/>
                  <a:pt x="1005" y="11"/>
                </a:cubicBezTo>
                <a:cubicBezTo>
                  <a:pt x="1005" y="29"/>
                  <a:pt x="1005" y="48"/>
                  <a:pt x="1005" y="66"/>
                </a:cubicBezTo>
                <a:cubicBezTo>
                  <a:pt x="1005" y="66"/>
                  <a:pt x="1004" y="66"/>
                  <a:pt x="1004" y="66"/>
                </a:cubicBezTo>
                <a:cubicBezTo>
                  <a:pt x="1004" y="88"/>
                  <a:pt x="1010" y="112"/>
                  <a:pt x="1002" y="130"/>
                </a:cubicBezTo>
                <a:cubicBezTo>
                  <a:pt x="995" y="148"/>
                  <a:pt x="973" y="160"/>
                  <a:pt x="960" y="176"/>
                </a:cubicBezTo>
                <a:cubicBezTo>
                  <a:pt x="949" y="189"/>
                  <a:pt x="942" y="186"/>
                  <a:pt x="930" y="177"/>
                </a:cubicBezTo>
                <a:cubicBezTo>
                  <a:pt x="805" y="79"/>
                  <a:pt x="664" y="40"/>
                  <a:pt x="508" y="61"/>
                </a:cubicBezTo>
                <a:cubicBezTo>
                  <a:pt x="363" y="80"/>
                  <a:pt x="242" y="147"/>
                  <a:pt x="150" y="260"/>
                </a:cubicBezTo>
                <a:cubicBezTo>
                  <a:pt x="39" y="396"/>
                  <a:pt x="0" y="554"/>
                  <a:pt x="34" y="726"/>
                </a:cubicBezTo>
                <a:cubicBezTo>
                  <a:pt x="59" y="856"/>
                  <a:pt x="125" y="964"/>
                  <a:pt x="227" y="1048"/>
                </a:cubicBezTo>
                <a:cubicBezTo>
                  <a:pt x="353" y="1150"/>
                  <a:pt x="498" y="1191"/>
                  <a:pt x="659" y="1170"/>
                </a:cubicBezTo>
                <a:cubicBezTo>
                  <a:pt x="746" y="1159"/>
                  <a:pt x="826" y="1129"/>
                  <a:pt x="897" y="1079"/>
                </a:cubicBezTo>
                <a:cubicBezTo>
                  <a:pt x="1027" y="988"/>
                  <a:pt x="1107" y="865"/>
                  <a:pt x="1135" y="709"/>
                </a:cubicBezTo>
                <a:cubicBezTo>
                  <a:pt x="1150" y="621"/>
                  <a:pt x="1144" y="535"/>
                  <a:pt x="1118" y="450"/>
                </a:cubicBezTo>
                <a:cubicBezTo>
                  <a:pt x="1097" y="382"/>
                  <a:pt x="1064" y="320"/>
                  <a:pt x="1019" y="265"/>
                </a:cubicBezTo>
                <a:cubicBezTo>
                  <a:pt x="1012" y="257"/>
                  <a:pt x="1012" y="252"/>
                  <a:pt x="1020" y="245"/>
                </a:cubicBezTo>
                <a:cubicBezTo>
                  <a:pt x="1036" y="230"/>
                  <a:pt x="1051" y="215"/>
                  <a:pt x="1066" y="199"/>
                </a:cubicBezTo>
                <a:cubicBezTo>
                  <a:pt x="1072" y="193"/>
                  <a:pt x="1079" y="190"/>
                  <a:pt x="1088" y="190"/>
                </a:cubicBezTo>
                <a:cubicBezTo>
                  <a:pt x="1119" y="191"/>
                  <a:pt x="1150" y="190"/>
                  <a:pt x="1181" y="190"/>
                </a:cubicBezTo>
                <a:cubicBezTo>
                  <a:pt x="1191" y="191"/>
                  <a:pt x="1195" y="189"/>
                  <a:pt x="1195" y="178"/>
                </a:cubicBezTo>
                <a:cubicBezTo>
                  <a:pt x="1194" y="156"/>
                  <a:pt x="1194" y="134"/>
                  <a:pt x="1195" y="112"/>
                </a:cubicBezTo>
                <a:close/>
                <a:moveTo>
                  <a:pt x="1050" y="635"/>
                </a:moveTo>
                <a:cubicBezTo>
                  <a:pt x="1038" y="828"/>
                  <a:pt x="940" y="965"/>
                  <a:pt x="766" y="1046"/>
                </a:cubicBezTo>
                <a:cubicBezTo>
                  <a:pt x="709" y="1073"/>
                  <a:pt x="647" y="1083"/>
                  <a:pt x="583" y="1084"/>
                </a:cubicBezTo>
                <a:cubicBezTo>
                  <a:pt x="368" y="1084"/>
                  <a:pt x="181" y="938"/>
                  <a:pt x="129" y="729"/>
                </a:cubicBezTo>
                <a:cubicBezTo>
                  <a:pt x="75" y="515"/>
                  <a:pt x="178" y="289"/>
                  <a:pt x="378" y="195"/>
                </a:cubicBezTo>
                <a:cubicBezTo>
                  <a:pt x="551" y="114"/>
                  <a:pt x="716" y="134"/>
                  <a:pt x="871" y="246"/>
                </a:cubicBezTo>
                <a:cubicBezTo>
                  <a:pt x="880" y="253"/>
                  <a:pt x="879" y="256"/>
                  <a:pt x="871" y="264"/>
                </a:cubicBezTo>
                <a:cubicBezTo>
                  <a:pt x="846" y="288"/>
                  <a:pt x="821" y="313"/>
                  <a:pt x="796" y="339"/>
                </a:cubicBezTo>
                <a:cubicBezTo>
                  <a:pt x="789" y="345"/>
                  <a:pt x="785" y="346"/>
                  <a:pt x="778" y="340"/>
                </a:cubicBezTo>
                <a:cubicBezTo>
                  <a:pt x="708" y="291"/>
                  <a:pt x="630" y="270"/>
                  <a:pt x="545" y="280"/>
                </a:cubicBezTo>
                <a:cubicBezTo>
                  <a:pt x="441" y="292"/>
                  <a:pt x="357" y="343"/>
                  <a:pt x="300" y="431"/>
                </a:cubicBezTo>
                <a:cubicBezTo>
                  <a:pt x="192" y="599"/>
                  <a:pt x="246" y="812"/>
                  <a:pt x="419" y="911"/>
                </a:cubicBezTo>
                <a:cubicBezTo>
                  <a:pt x="561" y="992"/>
                  <a:pt x="751" y="952"/>
                  <a:pt x="849" y="823"/>
                </a:cubicBezTo>
                <a:cubicBezTo>
                  <a:pt x="901" y="754"/>
                  <a:pt x="925" y="677"/>
                  <a:pt x="920" y="592"/>
                </a:cubicBezTo>
                <a:cubicBezTo>
                  <a:pt x="916" y="530"/>
                  <a:pt x="895" y="474"/>
                  <a:pt x="860" y="423"/>
                </a:cubicBezTo>
                <a:cubicBezTo>
                  <a:pt x="854" y="415"/>
                  <a:pt x="853" y="410"/>
                  <a:pt x="861" y="403"/>
                </a:cubicBezTo>
                <a:cubicBezTo>
                  <a:pt x="887" y="378"/>
                  <a:pt x="912" y="353"/>
                  <a:pt x="937" y="328"/>
                </a:cubicBezTo>
                <a:cubicBezTo>
                  <a:pt x="943" y="322"/>
                  <a:pt x="946" y="320"/>
                  <a:pt x="952" y="328"/>
                </a:cubicBezTo>
                <a:cubicBezTo>
                  <a:pt x="1021" y="419"/>
                  <a:pt x="1057" y="521"/>
                  <a:pt x="1050" y="635"/>
                </a:cubicBezTo>
                <a:close/>
                <a:moveTo>
                  <a:pt x="528" y="751"/>
                </a:moveTo>
                <a:cubicBezTo>
                  <a:pt x="630" y="789"/>
                  <a:pt x="733" y="714"/>
                  <a:pt x="728" y="606"/>
                </a:cubicBezTo>
                <a:cubicBezTo>
                  <a:pt x="727" y="590"/>
                  <a:pt x="723" y="574"/>
                  <a:pt x="716" y="559"/>
                </a:cubicBezTo>
                <a:cubicBezTo>
                  <a:pt x="715" y="555"/>
                  <a:pt x="712" y="552"/>
                  <a:pt x="717" y="547"/>
                </a:cubicBezTo>
                <a:cubicBezTo>
                  <a:pt x="740" y="524"/>
                  <a:pt x="762" y="501"/>
                  <a:pt x="785" y="477"/>
                </a:cubicBezTo>
                <a:cubicBezTo>
                  <a:pt x="857" y="588"/>
                  <a:pt x="835" y="730"/>
                  <a:pt x="735" y="808"/>
                </a:cubicBezTo>
                <a:cubicBezTo>
                  <a:pt x="633" y="887"/>
                  <a:pt x="489" y="877"/>
                  <a:pt x="404" y="783"/>
                </a:cubicBezTo>
                <a:cubicBezTo>
                  <a:pt x="315" y="686"/>
                  <a:pt x="314" y="544"/>
                  <a:pt x="404" y="448"/>
                </a:cubicBezTo>
                <a:cubicBezTo>
                  <a:pt x="492" y="353"/>
                  <a:pt x="631" y="349"/>
                  <a:pt x="720" y="413"/>
                </a:cubicBezTo>
                <a:cubicBezTo>
                  <a:pt x="698" y="436"/>
                  <a:pt x="675" y="458"/>
                  <a:pt x="653" y="480"/>
                </a:cubicBezTo>
                <a:cubicBezTo>
                  <a:pt x="648" y="485"/>
                  <a:pt x="644" y="484"/>
                  <a:pt x="639" y="482"/>
                </a:cubicBezTo>
                <a:cubicBezTo>
                  <a:pt x="575" y="456"/>
                  <a:pt x="512" y="473"/>
                  <a:pt x="468" y="526"/>
                </a:cubicBezTo>
                <a:cubicBezTo>
                  <a:pt x="408" y="599"/>
                  <a:pt x="440" y="717"/>
                  <a:pt x="528" y="751"/>
                </a:cubicBezTo>
                <a:close/>
              </a:path>
            </a:pathLst>
          </a:custGeom>
          <a:solidFill>
            <a:schemeClr val="bg1"/>
          </a:solidFill>
          <a:ln>
            <a:noFill/>
          </a:ln>
        </p:spPr>
        <p:txBody>
          <a:bodyPr vert="horz" wrap="square" lIns="91363" tIns="45682" rIns="91363" bIns="45682" numCol="1" anchor="t" anchorCtr="0" compatLnSpc="1">
            <a:prstTxWarp prst="textNoShape">
              <a:avLst/>
            </a:prstTxWarp>
          </a:bodyPr>
          <a:lstStyle/>
          <a:p>
            <a:pPr defTabSz="913537">
              <a:defRPr/>
            </a:pPr>
            <a:endParaRPr lang="en-US" sz="1400" kern="0" dirty="0">
              <a:solidFill>
                <a:srgbClr val="000000"/>
              </a:solidFill>
              <a:latin typeface="Arial" panose="020B0604020202020204" pitchFamily="34" charset="0"/>
              <a:cs typeface="Arial" panose="020B0604020202020204" pitchFamily="34" charset="0"/>
            </a:endParaRPr>
          </a:p>
        </p:txBody>
      </p:sp>
      <p:sp>
        <p:nvSpPr>
          <p:cNvPr id="41" name="Rounded Rectangle 4">
            <a:extLst>
              <a:ext uri="{FF2B5EF4-FFF2-40B4-BE49-F238E27FC236}">
                <a16:creationId xmlns:a16="http://schemas.microsoft.com/office/drawing/2014/main" id="{89381166-98FC-416A-A500-7758FA858D23}"/>
              </a:ext>
            </a:extLst>
          </p:cNvPr>
          <p:cNvSpPr>
            <a:spLocks/>
          </p:cNvSpPr>
          <p:nvPr/>
        </p:nvSpPr>
        <p:spPr>
          <a:xfrm>
            <a:off x="6162719" y="1183065"/>
            <a:ext cx="5579632" cy="1311546"/>
          </a:xfrm>
          <a:prstGeom prst="rect">
            <a:avLst/>
          </a:prstGeom>
          <a:solidFill>
            <a:schemeClr val="bg1">
              <a:lumMod val="95000"/>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5" tIns="137043" rIns="182725" bIns="91363" numCol="1" spcCol="0" rtlCol="0" fromWordArt="0" anchor="t" anchorCtr="0" forceAA="0" compatLnSpc="1">
            <a:prstTxWarp prst="textNoShape">
              <a:avLst/>
            </a:prstTxWarp>
            <a:noAutofit/>
          </a:bodyPr>
          <a:lstStyle/>
          <a:p>
            <a:pPr marL="285750" indent="-285750" defTabSz="913237" fontAlgn="base">
              <a:spcBef>
                <a:spcPts val="300"/>
              </a:spcBef>
              <a:buFont typeface="Arial" panose="020B0604020202020204" pitchFamily="34" charset="0"/>
              <a:buChar char="•"/>
              <a:defRPr/>
            </a:pPr>
            <a:r>
              <a:rPr lang="en-IN" sz="1400" b="1" kern="0" dirty="0">
                <a:solidFill>
                  <a:schemeClr val="tx2"/>
                </a:solidFill>
                <a:latin typeface="Arial" panose="020B0604020202020204" pitchFamily="34" charset="0"/>
                <a:ea typeface="Segoe UI" pitchFamily="34" charset="0"/>
                <a:cs typeface="Arial" panose="020B0604020202020204" pitchFamily="34" charset="0"/>
              </a:rPr>
              <a:t>Current Approach: </a:t>
            </a:r>
            <a:r>
              <a:rPr lang="en-IN" sz="1400" kern="0" dirty="0">
                <a:solidFill>
                  <a:srgbClr val="505050"/>
                </a:solidFill>
                <a:latin typeface="Arial" panose="020B0604020202020204" pitchFamily="34" charset="0"/>
                <a:ea typeface="Segoe UI" pitchFamily="34" charset="0"/>
                <a:cs typeface="Arial" panose="020B0604020202020204" pitchFamily="34" charset="0"/>
              </a:rPr>
              <a:t>On Premise Data Storage in HDFS</a:t>
            </a:r>
          </a:p>
          <a:p>
            <a:pPr marL="285750" indent="-285750" defTabSz="913237" fontAlgn="base">
              <a:spcBef>
                <a:spcPts val="300"/>
              </a:spcBef>
              <a:buFont typeface="Arial" panose="020B0604020202020204" pitchFamily="34" charset="0"/>
              <a:buChar char="•"/>
              <a:defRPr/>
            </a:pPr>
            <a:r>
              <a:rPr lang="en-IN" sz="1400" kern="0" dirty="0">
                <a:solidFill>
                  <a:srgbClr val="505050"/>
                </a:solidFill>
                <a:latin typeface="Arial" panose="020B0604020202020204" pitchFamily="34" charset="0"/>
                <a:ea typeface="Segoe UI" pitchFamily="34" charset="0"/>
                <a:cs typeface="Arial" panose="020B0604020202020204" pitchFamily="34" charset="0"/>
              </a:rPr>
              <a:t>Difficult to maintain especially when the data volume grows</a:t>
            </a:r>
          </a:p>
          <a:p>
            <a:pPr marL="285750" indent="-285750" defTabSz="913237" fontAlgn="base">
              <a:spcBef>
                <a:spcPts val="300"/>
              </a:spcBef>
              <a:buFont typeface="Arial" panose="020B0604020202020204" pitchFamily="34" charset="0"/>
              <a:buChar char="•"/>
              <a:defRPr/>
            </a:pPr>
            <a:r>
              <a:rPr lang="en-US" sz="1400" kern="0" dirty="0">
                <a:solidFill>
                  <a:srgbClr val="505050"/>
                </a:solidFill>
                <a:latin typeface="Arial" panose="020B0604020202020204" pitchFamily="34" charset="0"/>
                <a:ea typeface="Segoe UI" pitchFamily="34" charset="0"/>
                <a:cs typeface="Arial" panose="020B0604020202020204" pitchFamily="34" charset="0"/>
              </a:rPr>
              <a:t>Not Scalable and Agile</a:t>
            </a:r>
            <a:endParaRPr lang="en-IN" sz="1400" kern="0" dirty="0">
              <a:solidFill>
                <a:srgbClr val="505050"/>
              </a:solidFill>
              <a:latin typeface="Arial" panose="020B0604020202020204" pitchFamily="34" charset="0"/>
              <a:ea typeface="Segoe UI" pitchFamily="34" charset="0"/>
              <a:cs typeface="Arial" panose="020B0604020202020204" pitchFamily="34" charset="0"/>
            </a:endParaRPr>
          </a:p>
          <a:p>
            <a:pPr defTabSz="913237" fontAlgn="base">
              <a:spcBef>
                <a:spcPts val="300"/>
              </a:spcBef>
              <a:defRPr/>
            </a:pPr>
            <a:endParaRPr lang="en-IN" sz="1400" kern="0" dirty="0">
              <a:solidFill>
                <a:srgbClr val="505050"/>
              </a:solidFill>
              <a:latin typeface="Arial" panose="020B0604020202020204" pitchFamily="34" charset="0"/>
              <a:ea typeface="Segoe UI" pitchFamily="34" charset="0"/>
              <a:cs typeface="Arial" panose="020B0604020202020204" pitchFamily="34" charset="0"/>
            </a:endParaRPr>
          </a:p>
        </p:txBody>
      </p:sp>
      <p:sp>
        <p:nvSpPr>
          <p:cNvPr id="42" name="Rounded Rectangle 4">
            <a:extLst>
              <a:ext uri="{FF2B5EF4-FFF2-40B4-BE49-F238E27FC236}">
                <a16:creationId xmlns:a16="http://schemas.microsoft.com/office/drawing/2014/main" id="{8CC7CEF4-9AA2-468E-A925-BDEEBB6EEC10}"/>
              </a:ext>
            </a:extLst>
          </p:cNvPr>
          <p:cNvSpPr/>
          <p:nvPr/>
        </p:nvSpPr>
        <p:spPr>
          <a:xfrm>
            <a:off x="6157055" y="760221"/>
            <a:ext cx="5579632" cy="432432"/>
          </a:xfrm>
          <a:prstGeom prst="rect">
            <a:avLst/>
          </a:prstGeom>
          <a:solidFill>
            <a:schemeClr val="tx2">
              <a:alpha val="87843"/>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5" tIns="91363" rIns="182725" bIns="91363" numCol="1" spcCol="0" rtlCol="0" fromWordArt="0" anchor="ctr" anchorCtr="0" forceAA="0" compatLnSpc="1">
            <a:prstTxWarp prst="textNoShape">
              <a:avLst/>
            </a:prstTxWarp>
            <a:noAutofit/>
          </a:bodyPr>
          <a:lstStyle/>
          <a:p>
            <a:pPr algn="ctr" defTabSz="913237" fontAlgn="base">
              <a:spcBef>
                <a:spcPct val="0"/>
              </a:spcBef>
              <a:spcAft>
                <a:spcPts val="1200"/>
              </a:spcAft>
              <a:defRPr/>
            </a:pPr>
            <a:r>
              <a:rPr lang="en-US" sz="1400" b="1" kern="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Challenges Faced</a:t>
            </a:r>
          </a:p>
        </p:txBody>
      </p:sp>
      <p:sp>
        <p:nvSpPr>
          <p:cNvPr id="43" name="Rounded Rectangle 4">
            <a:extLst>
              <a:ext uri="{FF2B5EF4-FFF2-40B4-BE49-F238E27FC236}">
                <a16:creationId xmlns:a16="http://schemas.microsoft.com/office/drawing/2014/main" id="{CF2E32B6-9DA2-4E3A-A87E-97E6E3A64A4B}"/>
              </a:ext>
            </a:extLst>
          </p:cNvPr>
          <p:cNvSpPr/>
          <p:nvPr/>
        </p:nvSpPr>
        <p:spPr>
          <a:xfrm>
            <a:off x="6157055" y="764993"/>
            <a:ext cx="687388" cy="427660"/>
          </a:xfrm>
          <a:prstGeom prst="homePlate">
            <a:avLst>
              <a:gd name="adj" fmla="val 23380"/>
            </a:avLst>
          </a:prstGeom>
          <a:solidFill>
            <a:schemeClr val="tx2">
              <a:alpha val="87843"/>
            </a:scheme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25" tIns="91363" rIns="182725" bIns="91363" numCol="1" spcCol="0" rtlCol="0" fromWordArt="0" anchor="ctr" anchorCtr="0" forceAA="0" compatLnSpc="1">
            <a:prstTxWarp prst="textNoShape">
              <a:avLst/>
            </a:prstTxWarp>
            <a:noAutofit/>
          </a:bodyPr>
          <a:lstStyle/>
          <a:p>
            <a:pPr algn="ctr" defTabSz="913237" fontAlgn="base">
              <a:spcBef>
                <a:spcPct val="0"/>
              </a:spcBef>
              <a:spcAft>
                <a:spcPts val="1200"/>
              </a:spcAft>
              <a:defRPr/>
            </a:pPr>
            <a:endParaRPr lang="en-US" sz="1400" b="1" kern="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5369014C-50C2-4FC9-AD1D-04C2ECEEFE33}"/>
              </a:ext>
            </a:extLst>
          </p:cNvPr>
          <p:cNvGrpSpPr/>
          <p:nvPr/>
        </p:nvGrpSpPr>
        <p:grpSpPr>
          <a:xfrm>
            <a:off x="6241615" y="803394"/>
            <a:ext cx="392082" cy="347816"/>
            <a:chOff x="5275270" y="1015205"/>
            <a:chExt cx="1435102" cy="1322390"/>
          </a:xfrm>
          <a:solidFill>
            <a:schemeClr val="bg1"/>
          </a:solidFill>
        </p:grpSpPr>
        <p:sp>
          <p:nvSpPr>
            <p:cNvPr id="45" name="Freeform 31">
              <a:extLst>
                <a:ext uri="{FF2B5EF4-FFF2-40B4-BE49-F238E27FC236}">
                  <a16:creationId xmlns:a16="http://schemas.microsoft.com/office/drawing/2014/main" id="{9EAF62D8-64E4-4DFB-AD90-54F0F9D6EB78}"/>
                </a:ext>
              </a:extLst>
            </p:cNvPr>
            <p:cNvSpPr>
              <a:spLocks noEditPoints="1"/>
            </p:cNvSpPr>
            <p:nvPr/>
          </p:nvSpPr>
          <p:spPr bwMode="auto">
            <a:xfrm>
              <a:off x="5275270" y="1015205"/>
              <a:ext cx="985841" cy="617537"/>
            </a:xfrm>
            <a:custGeom>
              <a:avLst/>
              <a:gdLst>
                <a:gd name="T0" fmla="*/ 148 w 263"/>
                <a:gd name="T1" fmla="*/ 0 h 165"/>
                <a:gd name="T2" fmla="*/ 172 w 263"/>
                <a:gd name="T3" fmla="*/ 2 h 165"/>
                <a:gd name="T4" fmla="*/ 239 w 263"/>
                <a:gd name="T5" fmla="*/ 20 h 165"/>
                <a:gd name="T6" fmla="*/ 259 w 263"/>
                <a:gd name="T7" fmla="*/ 36 h 165"/>
                <a:gd name="T8" fmla="*/ 263 w 263"/>
                <a:gd name="T9" fmla="*/ 47 h 165"/>
                <a:gd name="T10" fmla="*/ 263 w 263"/>
                <a:gd name="T11" fmla="*/ 116 h 165"/>
                <a:gd name="T12" fmla="*/ 263 w 263"/>
                <a:gd name="T13" fmla="*/ 119 h 165"/>
                <a:gd name="T14" fmla="*/ 242 w 263"/>
                <a:gd name="T15" fmla="*/ 119 h 165"/>
                <a:gd name="T16" fmla="*/ 242 w 263"/>
                <a:gd name="T17" fmla="*/ 138 h 165"/>
                <a:gd name="T18" fmla="*/ 238 w 263"/>
                <a:gd name="T19" fmla="*/ 145 h 165"/>
                <a:gd name="T20" fmla="*/ 219 w 263"/>
                <a:gd name="T21" fmla="*/ 141 h 165"/>
                <a:gd name="T22" fmla="*/ 210 w 263"/>
                <a:gd name="T23" fmla="*/ 132 h 165"/>
                <a:gd name="T24" fmla="*/ 189 w 263"/>
                <a:gd name="T25" fmla="*/ 153 h 165"/>
                <a:gd name="T26" fmla="*/ 169 w 263"/>
                <a:gd name="T27" fmla="*/ 162 h 165"/>
                <a:gd name="T28" fmla="*/ 81 w 263"/>
                <a:gd name="T29" fmla="*/ 161 h 165"/>
                <a:gd name="T30" fmla="*/ 18 w 263"/>
                <a:gd name="T31" fmla="*/ 141 h 165"/>
                <a:gd name="T32" fmla="*/ 0 w 263"/>
                <a:gd name="T33" fmla="*/ 120 h 165"/>
                <a:gd name="T34" fmla="*/ 0 w 263"/>
                <a:gd name="T35" fmla="*/ 45 h 165"/>
                <a:gd name="T36" fmla="*/ 12 w 263"/>
                <a:gd name="T37" fmla="*/ 28 h 165"/>
                <a:gd name="T38" fmla="*/ 25 w 263"/>
                <a:gd name="T39" fmla="*/ 20 h 165"/>
                <a:gd name="T40" fmla="*/ 91 w 263"/>
                <a:gd name="T41" fmla="*/ 2 h 165"/>
                <a:gd name="T42" fmla="*/ 116 w 263"/>
                <a:gd name="T43" fmla="*/ 0 h 165"/>
                <a:gd name="T44" fmla="*/ 148 w 263"/>
                <a:gd name="T45" fmla="*/ 0 h 165"/>
                <a:gd name="T46" fmla="*/ 132 w 263"/>
                <a:gd name="T47" fmla="*/ 85 h 165"/>
                <a:gd name="T48" fmla="*/ 205 w 263"/>
                <a:gd name="T49" fmla="*/ 75 h 165"/>
                <a:gd name="T50" fmla="*/ 231 w 263"/>
                <a:gd name="T51" fmla="*/ 60 h 165"/>
                <a:gd name="T52" fmla="*/ 231 w 263"/>
                <a:gd name="T53" fmla="*/ 35 h 165"/>
                <a:gd name="T54" fmla="*/ 227 w 263"/>
                <a:gd name="T55" fmla="*/ 31 h 165"/>
                <a:gd name="T56" fmla="*/ 189 w 263"/>
                <a:gd name="T57" fmla="*/ 16 h 165"/>
                <a:gd name="T58" fmla="*/ 111 w 263"/>
                <a:gd name="T59" fmla="*/ 10 h 165"/>
                <a:gd name="T60" fmla="*/ 59 w 263"/>
                <a:gd name="T61" fmla="*/ 20 h 165"/>
                <a:gd name="T62" fmla="*/ 32 w 263"/>
                <a:gd name="T63" fmla="*/ 35 h 165"/>
                <a:gd name="T64" fmla="*/ 32 w 263"/>
                <a:gd name="T65" fmla="*/ 60 h 165"/>
                <a:gd name="T66" fmla="*/ 37 w 263"/>
                <a:gd name="T67" fmla="*/ 63 h 165"/>
                <a:gd name="T68" fmla="*/ 60 w 263"/>
                <a:gd name="T69" fmla="*/ 75 h 165"/>
                <a:gd name="T70" fmla="*/ 132 w 263"/>
                <a:gd name="T71" fmla="*/ 8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3" h="165">
                  <a:moveTo>
                    <a:pt x="148" y="0"/>
                  </a:moveTo>
                  <a:cubicBezTo>
                    <a:pt x="156" y="1"/>
                    <a:pt x="164" y="1"/>
                    <a:pt x="172" y="2"/>
                  </a:cubicBezTo>
                  <a:cubicBezTo>
                    <a:pt x="195" y="5"/>
                    <a:pt x="218" y="10"/>
                    <a:pt x="239" y="20"/>
                  </a:cubicBezTo>
                  <a:cubicBezTo>
                    <a:pt x="247" y="24"/>
                    <a:pt x="254" y="29"/>
                    <a:pt x="259" y="36"/>
                  </a:cubicBezTo>
                  <a:cubicBezTo>
                    <a:pt x="261" y="40"/>
                    <a:pt x="263" y="44"/>
                    <a:pt x="263" y="47"/>
                  </a:cubicBezTo>
                  <a:cubicBezTo>
                    <a:pt x="263" y="70"/>
                    <a:pt x="263" y="93"/>
                    <a:pt x="263" y="116"/>
                  </a:cubicBezTo>
                  <a:cubicBezTo>
                    <a:pt x="263" y="117"/>
                    <a:pt x="263" y="118"/>
                    <a:pt x="263" y="119"/>
                  </a:cubicBezTo>
                  <a:cubicBezTo>
                    <a:pt x="256" y="119"/>
                    <a:pt x="249" y="119"/>
                    <a:pt x="242" y="119"/>
                  </a:cubicBezTo>
                  <a:cubicBezTo>
                    <a:pt x="242" y="126"/>
                    <a:pt x="242" y="132"/>
                    <a:pt x="242" y="138"/>
                  </a:cubicBezTo>
                  <a:cubicBezTo>
                    <a:pt x="242" y="141"/>
                    <a:pt x="241" y="143"/>
                    <a:pt x="238" y="145"/>
                  </a:cubicBezTo>
                  <a:cubicBezTo>
                    <a:pt x="227" y="150"/>
                    <a:pt x="227" y="150"/>
                    <a:pt x="219" y="141"/>
                  </a:cubicBezTo>
                  <a:cubicBezTo>
                    <a:pt x="216" y="139"/>
                    <a:pt x="213" y="135"/>
                    <a:pt x="210" y="132"/>
                  </a:cubicBezTo>
                  <a:cubicBezTo>
                    <a:pt x="203" y="139"/>
                    <a:pt x="196" y="146"/>
                    <a:pt x="189" y="153"/>
                  </a:cubicBezTo>
                  <a:cubicBezTo>
                    <a:pt x="184" y="160"/>
                    <a:pt x="177" y="162"/>
                    <a:pt x="169" y="162"/>
                  </a:cubicBezTo>
                  <a:cubicBezTo>
                    <a:pt x="139" y="165"/>
                    <a:pt x="110" y="165"/>
                    <a:pt x="81" y="161"/>
                  </a:cubicBezTo>
                  <a:cubicBezTo>
                    <a:pt x="59" y="157"/>
                    <a:pt x="38" y="152"/>
                    <a:pt x="18" y="141"/>
                  </a:cubicBezTo>
                  <a:cubicBezTo>
                    <a:pt x="10" y="136"/>
                    <a:pt x="3" y="129"/>
                    <a:pt x="0" y="120"/>
                  </a:cubicBezTo>
                  <a:cubicBezTo>
                    <a:pt x="0" y="95"/>
                    <a:pt x="0" y="70"/>
                    <a:pt x="0" y="45"/>
                  </a:cubicBezTo>
                  <a:cubicBezTo>
                    <a:pt x="2" y="38"/>
                    <a:pt x="6" y="32"/>
                    <a:pt x="12" y="28"/>
                  </a:cubicBezTo>
                  <a:cubicBezTo>
                    <a:pt x="16" y="25"/>
                    <a:pt x="20" y="22"/>
                    <a:pt x="25" y="20"/>
                  </a:cubicBezTo>
                  <a:cubicBezTo>
                    <a:pt x="46" y="10"/>
                    <a:pt x="68" y="5"/>
                    <a:pt x="91" y="2"/>
                  </a:cubicBezTo>
                  <a:cubicBezTo>
                    <a:pt x="99" y="1"/>
                    <a:pt x="107" y="1"/>
                    <a:pt x="116" y="0"/>
                  </a:cubicBezTo>
                  <a:cubicBezTo>
                    <a:pt x="126" y="0"/>
                    <a:pt x="137" y="0"/>
                    <a:pt x="148" y="0"/>
                  </a:cubicBezTo>
                  <a:close/>
                  <a:moveTo>
                    <a:pt x="132" y="85"/>
                  </a:moveTo>
                  <a:cubicBezTo>
                    <a:pt x="156" y="85"/>
                    <a:pt x="181" y="83"/>
                    <a:pt x="205" y="75"/>
                  </a:cubicBezTo>
                  <a:cubicBezTo>
                    <a:pt x="214" y="71"/>
                    <a:pt x="224" y="67"/>
                    <a:pt x="231" y="60"/>
                  </a:cubicBezTo>
                  <a:cubicBezTo>
                    <a:pt x="238" y="52"/>
                    <a:pt x="238" y="43"/>
                    <a:pt x="231" y="35"/>
                  </a:cubicBezTo>
                  <a:cubicBezTo>
                    <a:pt x="230" y="34"/>
                    <a:pt x="228" y="33"/>
                    <a:pt x="227" y="31"/>
                  </a:cubicBezTo>
                  <a:cubicBezTo>
                    <a:pt x="216" y="23"/>
                    <a:pt x="203" y="19"/>
                    <a:pt x="189" y="16"/>
                  </a:cubicBezTo>
                  <a:cubicBezTo>
                    <a:pt x="163" y="10"/>
                    <a:pt x="137" y="8"/>
                    <a:pt x="111" y="10"/>
                  </a:cubicBezTo>
                  <a:cubicBezTo>
                    <a:pt x="93" y="12"/>
                    <a:pt x="75" y="14"/>
                    <a:pt x="59" y="20"/>
                  </a:cubicBezTo>
                  <a:cubicBezTo>
                    <a:pt x="49" y="24"/>
                    <a:pt x="40" y="28"/>
                    <a:pt x="32" y="35"/>
                  </a:cubicBezTo>
                  <a:cubicBezTo>
                    <a:pt x="25" y="43"/>
                    <a:pt x="25" y="52"/>
                    <a:pt x="32" y="60"/>
                  </a:cubicBezTo>
                  <a:cubicBezTo>
                    <a:pt x="34" y="61"/>
                    <a:pt x="35" y="62"/>
                    <a:pt x="37" y="63"/>
                  </a:cubicBezTo>
                  <a:cubicBezTo>
                    <a:pt x="44" y="67"/>
                    <a:pt x="52" y="72"/>
                    <a:pt x="60" y="75"/>
                  </a:cubicBezTo>
                  <a:cubicBezTo>
                    <a:pt x="83" y="83"/>
                    <a:pt x="107" y="85"/>
                    <a:pt x="1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537">
                <a:defRPr/>
              </a:pPr>
              <a:endParaRPr lang="en-IN" sz="1400" kern="0" dirty="0">
                <a:solidFill>
                  <a:srgbClr val="000000"/>
                </a:solidFill>
                <a:latin typeface="Arial" panose="020B0604020202020204" pitchFamily="34" charset="0"/>
                <a:cs typeface="Arial" panose="020B0604020202020204" pitchFamily="34" charset="0"/>
              </a:endParaRPr>
            </a:p>
          </p:txBody>
        </p:sp>
        <p:sp>
          <p:nvSpPr>
            <p:cNvPr id="46" name="Freeform 32">
              <a:extLst>
                <a:ext uri="{FF2B5EF4-FFF2-40B4-BE49-F238E27FC236}">
                  <a16:creationId xmlns:a16="http://schemas.microsoft.com/office/drawing/2014/main" id="{DE3D2A8D-084B-4B8E-BE0B-38A445B7D2CC}"/>
                </a:ext>
              </a:extLst>
            </p:cNvPr>
            <p:cNvSpPr>
              <a:spLocks/>
            </p:cNvSpPr>
            <p:nvPr/>
          </p:nvSpPr>
          <p:spPr bwMode="auto">
            <a:xfrm>
              <a:off x="5275270" y="1547019"/>
              <a:ext cx="704851" cy="446088"/>
            </a:xfrm>
            <a:custGeom>
              <a:avLst/>
              <a:gdLst>
                <a:gd name="T0" fmla="*/ 0 w 188"/>
                <a:gd name="T1" fmla="*/ 0 h 119"/>
                <a:gd name="T2" fmla="*/ 3 w 188"/>
                <a:gd name="T3" fmla="*/ 5 h 119"/>
                <a:gd name="T4" fmla="*/ 28 w 188"/>
                <a:gd name="T5" fmla="*/ 24 h 119"/>
                <a:gd name="T6" fmla="*/ 86 w 188"/>
                <a:gd name="T7" fmla="*/ 40 h 119"/>
                <a:gd name="T8" fmla="*/ 163 w 188"/>
                <a:gd name="T9" fmla="*/ 41 h 119"/>
                <a:gd name="T10" fmla="*/ 169 w 188"/>
                <a:gd name="T11" fmla="*/ 44 h 119"/>
                <a:gd name="T12" fmla="*/ 186 w 188"/>
                <a:gd name="T13" fmla="*/ 61 h 119"/>
                <a:gd name="T14" fmla="*/ 187 w 188"/>
                <a:gd name="T15" fmla="*/ 66 h 119"/>
                <a:gd name="T16" fmla="*/ 182 w 188"/>
                <a:gd name="T17" fmla="*/ 70 h 119"/>
                <a:gd name="T18" fmla="*/ 149 w 188"/>
                <a:gd name="T19" fmla="*/ 70 h 119"/>
                <a:gd name="T20" fmla="*/ 149 w 188"/>
                <a:gd name="T21" fmla="*/ 119 h 119"/>
                <a:gd name="T22" fmla="*/ 119 w 188"/>
                <a:gd name="T23" fmla="*/ 119 h 119"/>
                <a:gd name="T24" fmla="*/ 50 w 188"/>
                <a:gd name="T25" fmla="*/ 109 h 119"/>
                <a:gd name="T26" fmla="*/ 14 w 188"/>
                <a:gd name="T27" fmla="*/ 93 h 119"/>
                <a:gd name="T28" fmla="*/ 0 w 188"/>
                <a:gd name="T29" fmla="*/ 74 h 119"/>
                <a:gd name="T30" fmla="*/ 0 w 188"/>
                <a:gd name="T31"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119">
                  <a:moveTo>
                    <a:pt x="0" y="0"/>
                  </a:moveTo>
                  <a:cubicBezTo>
                    <a:pt x="1" y="1"/>
                    <a:pt x="2" y="3"/>
                    <a:pt x="3" y="5"/>
                  </a:cubicBezTo>
                  <a:cubicBezTo>
                    <a:pt x="9" y="14"/>
                    <a:pt x="18" y="20"/>
                    <a:pt x="28" y="24"/>
                  </a:cubicBezTo>
                  <a:cubicBezTo>
                    <a:pt x="46" y="33"/>
                    <a:pt x="66" y="37"/>
                    <a:pt x="86" y="40"/>
                  </a:cubicBezTo>
                  <a:cubicBezTo>
                    <a:pt x="112" y="43"/>
                    <a:pt x="137" y="43"/>
                    <a:pt x="163" y="41"/>
                  </a:cubicBezTo>
                  <a:cubicBezTo>
                    <a:pt x="165" y="41"/>
                    <a:pt x="167" y="42"/>
                    <a:pt x="169" y="44"/>
                  </a:cubicBezTo>
                  <a:cubicBezTo>
                    <a:pt x="174" y="49"/>
                    <a:pt x="180" y="55"/>
                    <a:pt x="186" y="61"/>
                  </a:cubicBezTo>
                  <a:cubicBezTo>
                    <a:pt x="188" y="63"/>
                    <a:pt x="188" y="64"/>
                    <a:pt x="187" y="66"/>
                  </a:cubicBezTo>
                  <a:cubicBezTo>
                    <a:pt x="186" y="68"/>
                    <a:pt x="185" y="70"/>
                    <a:pt x="182" y="70"/>
                  </a:cubicBezTo>
                  <a:cubicBezTo>
                    <a:pt x="171" y="70"/>
                    <a:pt x="161" y="70"/>
                    <a:pt x="149" y="70"/>
                  </a:cubicBezTo>
                  <a:cubicBezTo>
                    <a:pt x="149" y="86"/>
                    <a:pt x="149" y="102"/>
                    <a:pt x="149" y="119"/>
                  </a:cubicBezTo>
                  <a:cubicBezTo>
                    <a:pt x="139" y="119"/>
                    <a:pt x="129" y="119"/>
                    <a:pt x="119" y="119"/>
                  </a:cubicBezTo>
                  <a:cubicBezTo>
                    <a:pt x="96" y="118"/>
                    <a:pt x="73" y="115"/>
                    <a:pt x="50" y="109"/>
                  </a:cubicBezTo>
                  <a:cubicBezTo>
                    <a:pt x="38" y="105"/>
                    <a:pt x="25" y="100"/>
                    <a:pt x="14" y="93"/>
                  </a:cubicBezTo>
                  <a:cubicBezTo>
                    <a:pt x="8" y="88"/>
                    <a:pt x="3" y="82"/>
                    <a:pt x="0" y="74"/>
                  </a:cubicBezTo>
                  <a:cubicBezTo>
                    <a:pt x="0" y="49"/>
                    <a:pt x="0" y="2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537">
                <a:defRPr/>
              </a:pPr>
              <a:endParaRPr lang="en-IN" sz="1400" kern="0" dirty="0">
                <a:solidFill>
                  <a:srgbClr val="000000"/>
                </a:solidFill>
                <a:latin typeface="Arial" panose="020B0604020202020204" pitchFamily="34" charset="0"/>
                <a:cs typeface="Arial" panose="020B0604020202020204" pitchFamily="34" charset="0"/>
              </a:endParaRPr>
            </a:p>
          </p:txBody>
        </p:sp>
        <p:sp>
          <p:nvSpPr>
            <p:cNvPr id="47" name="Freeform 34">
              <a:extLst>
                <a:ext uri="{FF2B5EF4-FFF2-40B4-BE49-F238E27FC236}">
                  <a16:creationId xmlns:a16="http://schemas.microsoft.com/office/drawing/2014/main" id="{D548585D-7D6A-4D6A-AE2C-D61DBBD27C08}"/>
                </a:ext>
              </a:extLst>
            </p:cNvPr>
            <p:cNvSpPr>
              <a:spLocks noEditPoints="1"/>
            </p:cNvSpPr>
            <p:nvPr/>
          </p:nvSpPr>
          <p:spPr bwMode="auto">
            <a:xfrm>
              <a:off x="5905508" y="1527969"/>
              <a:ext cx="804864" cy="809626"/>
            </a:xfrm>
            <a:custGeom>
              <a:avLst/>
              <a:gdLst>
                <a:gd name="T0" fmla="*/ 28 w 215"/>
                <a:gd name="T1" fmla="*/ 123 h 216"/>
                <a:gd name="T2" fmla="*/ 0 w 215"/>
                <a:gd name="T3" fmla="*/ 123 h 216"/>
                <a:gd name="T4" fmla="*/ 0 w 215"/>
                <a:gd name="T5" fmla="*/ 93 h 216"/>
                <a:gd name="T6" fmla="*/ 28 w 215"/>
                <a:gd name="T7" fmla="*/ 93 h 216"/>
                <a:gd name="T8" fmla="*/ 40 w 215"/>
                <a:gd name="T9" fmla="*/ 63 h 216"/>
                <a:gd name="T10" fmla="*/ 20 w 215"/>
                <a:gd name="T11" fmla="*/ 44 h 216"/>
                <a:gd name="T12" fmla="*/ 42 w 215"/>
                <a:gd name="T13" fmla="*/ 22 h 216"/>
                <a:gd name="T14" fmla="*/ 60 w 215"/>
                <a:gd name="T15" fmla="*/ 39 h 216"/>
                <a:gd name="T16" fmla="*/ 66 w 215"/>
                <a:gd name="T17" fmla="*/ 40 h 216"/>
                <a:gd name="T18" fmla="*/ 89 w 215"/>
                <a:gd name="T19" fmla="*/ 31 h 216"/>
                <a:gd name="T20" fmla="*/ 92 w 215"/>
                <a:gd name="T21" fmla="*/ 27 h 216"/>
                <a:gd name="T22" fmla="*/ 92 w 215"/>
                <a:gd name="T23" fmla="*/ 0 h 216"/>
                <a:gd name="T24" fmla="*/ 122 w 215"/>
                <a:gd name="T25" fmla="*/ 0 h 216"/>
                <a:gd name="T26" fmla="*/ 122 w 215"/>
                <a:gd name="T27" fmla="*/ 30 h 216"/>
                <a:gd name="T28" fmla="*/ 134 w 215"/>
                <a:gd name="T29" fmla="*/ 33 h 216"/>
                <a:gd name="T30" fmla="*/ 149 w 215"/>
                <a:gd name="T31" fmla="*/ 41 h 216"/>
                <a:gd name="T32" fmla="*/ 154 w 215"/>
                <a:gd name="T33" fmla="*/ 40 h 216"/>
                <a:gd name="T34" fmla="*/ 172 w 215"/>
                <a:gd name="T35" fmla="*/ 22 h 216"/>
                <a:gd name="T36" fmla="*/ 194 w 215"/>
                <a:gd name="T37" fmla="*/ 43 h 216"/>
                <a:gd name="T38" fmla="*/ 181 w 215"/>
                <a:gd name="T39" fmla="*/ 56 h 216"/>
                <a:gd name="T40" fmla="*/ 174 w 215"/>
                <a:gd name="T41" fmla="*/ 63 h 216"/>
                <a:gd name="T42" fmla="*/ 178 w 215"/>
                <a:gd name="T43" fmla="*/ 71 h 216"/>
                <a:gd name="T44" fmla="*/ 184 w 215"/>
                <a:gd name="T45" fmla="*/ 89 h 216"/>
                <a:gd name="T46" fmla="*/ 190 w 215"/>
                <a:gd name="T47" fmla="*/ 93 h 216"/>
                <a:gd name="T48" fmla="*/ 215 w 215"/>
                <a:gd name="T49" fmla="*/ 93 h 216"/>
                <a:gd name="T50" fmla="*/ 215 w 215"/>
                <a:gd name="T51" fmla="*/ 123 h 216"/>
                <a:gd name="T52" fmla="*/ 186 w 215"/>
                <a:gd name="T53" fmla="*/ 123 h 216"/>
                <a:gd name="T54" fmla="*/ 182 w 215"/>
                <a:gd name="T55" fmla="*/ 136 h 216"/>
                <a:gd name="T56" fmla="*/ 177 w 215"/>
                <a:gd name="T57" fmla="*/ 147 h 216"/>
                <a:gd name="T58" fmla="*/ 178 w 215"/>
                <a:gd name="T59" fmla="*/ 157 h 216"/>
                <a:gd name="T60" fmla="*/ 194 w 215"/>
                <a:gd name="T61" fmla="*/ 173 h 216"/>
                <a:gd name="T62" fmla="*/ 172 w 215"/>
                <a:gd name="T63" fmla="*/ 195 h 216"/>
                <a:gd name="T64" fmla="*/ 154 w 215"/>
                <a:gd name="T65" fmla="*/ 176 h 216"/>
                <a:gd name="T66" fmla="*/ 149 w 215"/>
                <a:gd name="T67" fmla="*/ 176 h 216"/>
                <a:gd name="T68" fmla="*/ 126 w 215"/>
                <a:gd name="T69" fmla="*/ 186 h 216"/>
                <a:gd name="T70" fmla="*/ 122 w 215"/>
                <a:gd name="T71" fmla="*/ 190 h 216"/>
                <a:gd name="T72" fmla="*/ 122 w 215"/>
                <a:gd name="T73" fmla="*/ 216 h 216"/>
                <a:gd name="T74" fmla="*/ 92 w 215"/>
                <a:gd name="T75" fmla="*/ 216 h 216"/>
                <a:gd name="T76" fmla="*/ 92 w 215"/>
                <a:gd name="T77" fmla="*/ 211 h 216"/>
                <a:gd name="T78" fmla="*/ 92 w 215"/>
                <a:gd name="T79" fmla="*/ 190 h 216"/>
                <a:gd name="T80" fmla="*/ 89 w 215"/>
                <a:gd name="T81" fmla="*/ 186 h 216"/>
                <a:gd name="T82" fmla="*/ 65 w 215"/>
                <a:gd name="T83" fmla="*/ 176 h 216"/>
                <a:gd name="T84" fmla="*/ 60 w 215"/>
                <a:gd name="T85" fmla="*/ 176 h 216"/>
                <a:gd name="T86" fmla="*/ 42 w 215"/>
                <a:gd name="T87" fmla="*/ 195 h 216"/>
                <a:gd name="T88" fmla="*/ 21 w 215"/>
                <a:gd name="T89" fmla="*/ 173 h 216"/>
                <a:gd name="T90" fmla="*/ 39 w 215"/>
                <a:gd name="T91" fmla="*/ 155 h 216"/>
                <a:gd name="T92" fmla="*/ 40 w 215"/>
                <a:gd name="T93" fmla="*/ 150 h 216"/>
                <a:gd name="T94" fmla="*/ 28 w 215"/>
                <a:gd name="T95" fmla="*/ 123 h 216"/>
                <a:gd name="T96" fmla="*/ 107 w 215"/>
                <a:gd name="T97" fmla="*/ 75 h 216"/>
                <a:gd name="T98" fmla="*/ 74 w 215"/>
                <a:gd name="T99" fmla="*/ 108 h 216"/>
                <a:gd name="T100" fmla="*/ 107 w 215"/>
                <a:gd name="T101" fmla="*/ 141 h 216"/>
                <a:gd name="T102" fmla="*/ 140 w 215"/>
                <a:gd name="T103" fmla="*/ 108 h 216"/>
                <a:gd name="T104" fmla="*/ 107 w 215"/>
                <a:gd name="T105"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5" h="216">
                  <a:moveTo>
                    <a:pt x="28" y="123"/>
                  </a:moveTo>
                  <a:cubicBezTo>
                    <a:pt x="19" y="123"/>
                    <a:pt x="9" y="123"/>
                    <a:pt x="0" y="123"/>
                  </a:cubicBezTo>
                  <a:cubicBezTo>
                    <a:pt x="0" y="113"/>
                    <a:pt x="0" y="103"/>
                    <a:pt x="0" y="93"/>
                  </a:cubicBezTo>
                  <a:cubicBezTo>
                    <a:pt x="9" y="93"/>
                    <a:pt x="19" y="93"/>
                    <a:pt x="28" y="93"/>
                  </a:cubicBezTo>
                  <a:cubicBezTo>
                    <a:pt x="32" y="83"/>
                    <a:pt x="36" y="73"/>
                    <a:pt x="40" y="63"/>
                  </a:cubicBezTo>
                  <a:cubicBezTo>
                    <a:pt x="34" y="57"/>
                    <a:pt x="27" y="50"/>
                    <a:pt x="20" y="44"/>
                  </a:cubicBezTo>
                  <a:cubicBezTo>
                    <a:pt x="28" y="36"/>
                    <a:pt x="35" y="29"/>
                    <a:pt x="42" y="22"/>
                  </a:cubicBezTo>
                  <a:cubicBezTo>
                    <a:pt x="48" y="27"/>
                    <a:pt x="54" y="33"/>
                    <a:pt x="60" y="39"/>
                  </a:cubicBezTo>
                  <a:cubicBezTo>
                    <a:pt x="62" y="42"/>
                    <a:pt x="64" y="41"/>
                    <a:pt x="66" y="40"/>
                  </a:cubicBezTo>
                  <a:cubicBezTo>
                    <a:pt x="74" y="36"/>
                    <a:pt x="82" y="34"/>
                    <a:pt x="89" y="31"/>
                  </a:cubicBezTo>
                  <a:cubicBezTo>
                    <a:pt x="91" y="30"/>
                    <a:pt x="92" y="29"/>
                    <a:pt x="92" y="27"/>
                  </a:cubicBezTo>
                  <a:cubicBezTo>
                    <a:pt x="92" y="18"/>
                    <a:pt x="92" y="9"/>
                    <a:pt x="92" y="0"/>
                  </a:cubicBezTo>
                  <a:cubicBezTo>
                    <a:pt x="102" y="0"/>
                    <a:pt x="112" y="0"/>
                    <a:pt x="122" y="0"/>
                  </a:cubicBezTo>
                  <a:cubicBezTo>
                    <a:pt x="122" y="10"/>
                    <a:pt x="122" y="20"/>
                    <a:pt x="122" y="30"/>
                  </a:cubicBezTo>
                  <a:cubicBezTo>
                    <a:pt x="127" y="31"/>
                    <a:pt x="131" y="32"/>
                    <a:pt x="134" y="33"/>
                  </a:cubicBezTo>
                  <a:cubicBezTo>
                    <a:pt x="140" y="35"/>
                    <a:pt x="145" y="38"/>
                    <a:pt x="149" y="41"/>
                  </a:cubicBezTo>
                  <a:cubicBezTo>
                    <a:pt x="151" y="42"/>
                    <a:pt x="153" y="42"/>
                    <a:pt x="154" y="40"/>
                  </a:cubicBezTo>
                  <a:cubicBezTo>
                    <a:pt x="160" y="34"/>
                    <a:pt x="166" y="28"/>
                    <a:pt x="172" y="22"/>
                  </a:cubicBezTo>
                  <a:cubicBezTo>
                    <a:pt x="179" y="29"/>
                    <a:pt x="186" y="36"/>
                    <a:pt x="194" y="43"/>
                  </a:cubicBezTo>
                  <a:cubicBezTo>
                    <a:pt x="190" y="47"/>
                    <a:pt x="185" y="52"/>
                    <a:pt x="181" y="56"/>
                  </a:cubicBezTo>
                  <a:cubicBezTo>
                    <a:pt x="178" y="59"/>
                    <a:pt x="175" y="61"/>
                    <a:pt x="174" y="63"/>
                  </a:cubicBezTo>
                  <a:cubicBezTo>
                    <a:pt x="174" y="65"/>
                    <a:pt x="177" y="68"/>
                    <a:pt x="178" y="71"/>
                  </a:cubicBezTo>
                  <a:cubicBezTo>
                    <a:pt x="180" y="77"/>
                    <a:pt x="183" y="83"/>
                    <a:pt x="184" y="89"/>
                  </a:cubicBezTo>
                  <a:cubicBezTo>
                    <a:pt x="185" y="92"/>
                    <a:pt x="186" y="93"/>
                    <a:pt x="190" y="93"/>
                  </a:cubicBezTo>
                  <a:cubicBezTo>
                    <a:pt x="198" y="93"/>
                    <a:pt x="207" y="93"/>
                    <a:pt x="215" y="93"/>
                  </a:cubicBezTo>
                  <a:cubicBezTo>
                    <a:pt x="215" y="103"/>
                    <a:pt x="215" y="113"/>
                    <a:pt x="215" y="123"/>
                  </a:cubicBezTo>
                  <a:cubicBezTo>
                    <a:pt x="205" y="123"/>
                    <a:pt x="196" y="123"/>
                    <a:pt x="186" y="123"/>
                  </a:cubicBezTo>
                  <a:cubicBezTo>
                    <a:pt x="185" y="128"/>
                    <a:pt x="183" y="132"/>
                    <a:pt x="182" y="136"/>
                  </a:cubicBezTo>
                  <a:cubicBezTo>
                    <a:pt x="180" y="140"/>
                    <a:pt x="179" y="144"/>
                    <a:pt x="177" y="147"/>
                  </a:cubicBezTo>
                  <a:cubicBezTo>
                    <a:pt x="174" y="153"/>
                    <a:pt x="174" y="153"/>
                    <a:pt x="178" y="157"/>
                  </a:cubicBezTo>
                  <a:cubicBezTo>
                    <a:pt x="183" y="163"/>
                    <a:pt x="189" y="168"/>
                    <a:pt x="194" y="173"/>
                  </a:cubicBezTo>
                  <a:cubicBezTo>
                    <a:pt x="187" y="180"/>
                    <a:pt x="180" y="188"/>
                    <a:pt x="172" y="195"/>
                  </a:cubicBezTo>
                  <a:cubicBezTo>
                    <a:pt x="167" y="189"/>
                    <a:pt x="160" y="183"/>
                    <a:pt x="154" y="176"/>
                  </a:cubicBezTo>
                  <a:cubicBezTo>
                    <a:pt x="153" y="175"/>
                    <a:pt x="151" y="175"/>
                    <a:pt x="149" y="176"/>
                  </a:cubicBezTo>
                  <a:cubicBezTo>
                    <a:pt x="141" y="179"/>
                    <a:pt x="134" y="183"/>
                    <a:pt x="126" y="186"/>
                  </a:cubicBezTo>
                  <a:cubicBezTo>
                    <a:pt x="123" y="186"/>
                    <a:pt x="122" y="187"/>
                    <a:pt x="122" y="190"/>
                  </a:cubicBezTo>
                  <a:cubicBezTo>
                    <a:pt x="122" y="198"/>
                    <a:pt x="122" y="207"/>
                    <a:pt x="122" y="216"/>
                  </a:cubicBezTo>
                  <a:cubicBezTo>
                    <a:pt x="112" y="216"/>
                    <a:pt x="103" y="216"/>
                    <a:pt x="92" y="216"/>
                  </a:cubicBezTo>
                  <a:cubicBezTo>
                    <a:pt x="92" y="214"/>
                    <a:pt x="92" y="213"/>
                    <a:pt x="92" y="211"/>
                  </a:cubicBezTo>
                  <a:cubicBezTo>
                    <a:pt x="92" y="204"/>
                    <a:pt x="92" y="197"/>
                    <a:pt x="92" y="190"/>
                  </a:cubicBezTo>
                  <a:cubicBezTo>
                    <a:pt x="92" y="187"/>
                    <a:pt x="92" y="186"/>
                    <a:pt x="89" y="186"/>
                  </a:cubicBezTo>
                  <a:cubicBezTo>
                    <a:pt x="81" y="183"/>
                    <a:pt x="73" y="179"/>
                    <a:pt x="65" y="176"/>
                  </a:cubicBezTo>
                  <a:cubicBezTo>
                    <a:pt x="63" y="175"/>
                    <a:pt x="62" y="175"/>
                    <a:pt x="60" y="176"/>
                  </a:cubicBezTo>
                  <a:cubicBezTo>
                    <a:pt x="54" y="183"/>
                    <a:pt x="48" y="189"/>
                    <a:pt x="42" y="195"/>
                  </a:cubicBezTo>
                  <a:cubicBezTo>
                    <a:pt x="35" y="188"/>
                    <a:pt x="28" y="181"/>
                    <a:pt x="21" y="173"/>
                  </a:cubicBezTo>
                  <a:cubicBezTo>
                    <a:pt x="27" y="167"/>
                    <a:pt x="33" y="161"/>
                    <a:pt x="39" y="155"/>
                  </a:cubicBezTo>
                  <a:cubicBezTo>
                    <a:pt x="41" y="153"/>
                    <a:pt x="41" y="152"/>
                    <a:pt x="40" y="150"/>
                  </a:cubicBezTo>
                  <a:cubicBezTo>
                    <a:pt x="36" y="141"/>
                    <a:pt x="32" y="133"/>
                    <a:pt x="28" y="123"/>
                  </a:cubicBezTo>
                  <a:close/>
                  <a:moveTo>
                    <a:pt x="107" y="75"/>
                  </a:moveTo>
                  <a:cubicBezTo>
                    <a:pt x="89" y="75"/>
                    <a:pt x="74" y="90"/>
                    <a:pt x="74" y="108"/>
                  </a:cubicBezTo>
                  <a:cubicBezTo>
                    <a:pt x="74" y="126"/>
                    <a:pt x="89" y="141"/>
                    <a:pt x="107" y="141"/>
                  </a:cubicBezTo>
                  <a:cubicBezTo>
                    <a:pt x="125" y="141"/>
                    <a:pt x="140" y="126"/>
                    <a:pt x="140" y="108"/>
                  </a:cubicBezTo>
                  <a:cubicBezTo>
                    <a:pt x="140" y="90"/>
                    <a:pt x="125" y="75"/>
                    <a:pt x="107"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537">
                <a:defRPr/>
              </a:pPr>
              <a:endParaRPr lang="en-IN" sz="1400" kern="0" dirty="0">
                <a:solidFill>
                  <a:srgbClr val="000000"/>
                </a:solidFill>
                <a:latin typeface="Arial" panose="020B0604020202020204" pitchFamily="34" charset="0"/>
                <a:cs typeface="Arial" panose="020B0604020202020204" pitchFamily="34" charset="0"/>
              </a:endParaRPr>
            </a:p>
          </p:txBody>
        </p:sp>
        <p:sp>
          <p:nvSpPr>
            <p:cNvPr id="48" name="Freeform 35">
              <a:extLst>
                <a:ext uri="{FF2B5EF4-FFF2-40B4-BE49-F238E27FC236}">
                  <a16:creationId xmlns:a16="http://schemas.microsoft.com/office/drawing/2014/main" id="{D81949AD-552A-4ADA-A490-1CFF1890E527}"/>
                </a:ext>
              </a:extLst>
            </p:cNvPr>
            <p:cNvSpPr>
              <a:spLocks/>
            </p:cNvSpPr>
            <p:nvPr/>
          </p:nvSpPr>
          <p:spPr bwMode="auto">
            <a:xfrm>
              <a:off x="5368933" y="1043781"/>
              <a:ext cx="798514" cy="288925"/>
            </a:xfrm>
            <a:custGeom>
              <a:avLst/>
              <a:gdLst>
                <a:gd name="T0" fmla="*/ 107 w 213"/>
                <a:gd name="T1" fmla="*/ 77 h 77"/>
                <a:gd name="T2" fmla="*/ 35 w 213"/>
                <a:gd name="T3" fmla="*/ 67 h 77"/>
                <a:gd name="T4" fmla="*/ 12 w 213"/>
                <a:gd name="T5" fmla="*/ 55 h 77"/>
                <a:gd name="T6" fmla="*/ 7 w 213"/>
                <a:gd name="T7" fmla="*/ 52 h 77"/>
                <a:gd name="T8" fmla="*/ 7 w 213"/>
                <a:gd name="T9" fmla="*/ 27 h 77"/>
                <a:gd name="T10" fmla="*/ 34 w 213"/>
                <a:gd name="T11" fmla="*/ 12 h 77"/>
                <a:gd name="T12" fmla="*/ 86 w 213"/>
                <a:gd name="T13" fmla="*/ 2 h 77"/>
                <a:gd name="T14" fmla="*/ 164 w 213"/>
                <a:gd name="T15" fmla="*/ 8 h 77"/>
                <a:gd name="T16" fmla="*/ 202 w 213"/>
                <a:gd name="T17" fmla="*/ 23 h 77"/>
                <a:gd name="T18" fmla="*/ 206 w 213"/>
                <a:gd name="T19" fmla="*/ 27 h 77"/>
                <a:gd name="T20" fmla="*/ 206 w 213"/>
                <a:gd name="T21" fmla="*/ 52 h 77"/>
                <a:gd name="T22" fmla="*/ 180 w 213"/>
                <a:gd name="T23" fmla="*/ 67 h 77"/>
                <a:gd name="T24" fmla="*/ 107 w 213"/>
                <a:gd name="T25"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77">
                  <a:moveTo>
                    <a:pt x="107" y="77"/>
                  </a:moveTo>
                  <a:cubicBezTo>
                    <a:pt x="82" y="77"/>
                    <a:pt x="58" y="75"/>
                    <a:pt x="35" y="67"/>
                  </a:cubicBezTo>
                  <a:cubicBezTo>
                    <a:pt x="27" y="64"/>
                    <a:pt x="19" y="59"/>
                    <a:pt x="12" y="55"/>
                  </a:cubicBezTo>
                  <a:cubicBezTo>
                    <a:pt x="10" y="54"/>
                    <a:pt x="9" y="53"/>
                    <a:pt x="7" y="52"/>
                  </a:cubicBezTo>
                  <a:cubicBezTo>
                    <a:pt x="0" y="44"/>
                    <a:pt x="0" y="35"/>
                    <a:pt x="7" y="27"/>
                  </a:cubicBezTo>
                  <a:cubicBezTo>
                    <a:pt x="15" y="20"/>
                    <a:pt x="24" y="16"/>
                    <a:pt x="34" y="12"/>
                  </a:cubicBezTo>
                  <a:cubicBezTo>
                    <a:pt x="50" y="6"/>
                    <a:pt x="68" y="4"/>
                    <a:pt x="86" y="2"/>
                  </a:cubicBezTo>
                  <a:cubicBezTo>
                    <a:pt x="112" y="0"/>
                    <a:pt x="138" y="2"/>
                    <a:pt x="164" y="8"/>
                  </a:cubicBezTo>
                  <a:cubicBezTo>
                    <a:pt x="178" y="11"/>
                    <a:pt x="191" y="15"/>
                    <a:pt x="202" y="23"/>
                  </a:cubicBezTo>
                  <a:cubicBezTo>
                    <a:pt x="203" y="25"/>
                    <a:pt x="205" y="26"/>
                    <a:pt x="206" y="27"/>
                  </a:cubicBezTo>
                  <a:cubicBezTo>
                    <a:pt x="213" y="35"/>
                    <a:pt x="213" y="44"/>
                    <a:pt x="206" y="52"/>
                  </a:cubicBezTo>
                  <a:cubicBezTo>
                    <a:pt x="199" y="59"/>
                    <a:pt x="189" y="63"/>
                    <a:pt x="180" y="67"/>
                  </a:cubicBezTo>
                  <a:cubicBezTo>
                    <a:pt x="156" y="75"/>
                    <a:pt x="131" y="77"/>
                    <a:pt x="107" y="77"/>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537">
                <a:defRPr/>
              </a:pPr>
              <a:endParaRPr lang="en-IN" sz="1400" kern="0" dirty="0">
                <a:solidFill>
                  <a:srgbClr val="000000"/>
                </a:solidFill>
                <a:latin typeface="Arial" panose="020B0604020202020204" pitchFamily="34" charset="0"/>
                <a:cs typeface="Arial" panose="020B0604020202020204" pitchFamily="34" charset="0"/>
              </a:endParaRPr>
            </a:p>
          </p:txBody>
        </p:sp>
        <p:sp>
          <p:nvSpPr>
            <p:cNvPr id="49" name="Oval 36">
              <a:extLst>
                <a:ext uri="{FF2B5EF4-FFF2-40B4-BE49-F238E27FC236}">
                  <a16:creationId xmlns:a16="http://schemas.microsoft.com/office/drawing/2014/main" id="{64BAD7E8-3827-4FCA-8510-B503CDBB42C1}"/>
                </a:ext>
              </a:extLst>
            </p:cNvPr>
            <p:cNvSpPr>
              <a:spLocks noChangeArrowheads="1"/>
            </p:cNvSpPr>
            <p:nvPr/>
          </p:nvSpPr>
          <p:spPr bwMode="auto">
            <a:xfrm>
              <a:off x="6181734" y="1808957"/>
              <a:ext cx="247650" cy="247650"/>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3537">
                <a:defRPr/>
              </a:pPr>
              <a:endParaRPr lang="en-IN" sz="1400" kern="0" dirty="0">
                <a:solidFill>
                  <a:srgbClr val="000000"/>
                </a:solidFill>
                <a:latin typeface="Arial" panose="020B0604020202020204" pitchFamily="34" charset="0"/>
                <a:cs typeface="Arial" panose="020B0604020202020204" pitchFamily="34" charset="0"/>
              </a:endParaRPr>
            </a:p>
          </p:txBody>
        </p:sp>
      </p:grpSp>
      <p:cxnSp>
        <p:nvCxnSpPr>
          <p:cNvPr id="50" name="Straight Arrow Connector 49">
            <a:extLst>
              <a:ext uri="{FF2B5EF4-FFF2-40B4-BE49-F238E27FC236}">
                <a16:creationId xmlns:a16="http://schemas.microsoft.com/office/drawing/2014/main" id="{B3C62877-DC9B-4CB4-BEC0-CDF15FCAD7E8}"/>
              </a:ext>
            </a:extLst>
          </p:cNvPr>
          <p:cNvCxnSpPr/>
          <p:nvPr/>
        </p:nvCxnSpPr>
        <p:spPr>
          <a:xfrm>
            <a:off x="583832" y="3225743"/>
            <a:ext cx="0" cy="2987345"/>
          </a:xfrm>
          <a:prstGeom prst="straightConnector1">
            <a:avLst/>
          </a:prstGeom>
          <a:ln w="38100">
            <a:solidFill>
              <a:schemeClr val="bg2">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A141B50-D60C-4A7A-AE99-8B070DB58F8E}"/>
              </a:ext>
            </a:extLst>
          </p:cNvPr>
          <p:cNvSpPr txBox="1"/>
          <p:nvPr/>
        </p:nvSpPr>
        <p:spPr>
          <a:xfrm>
            <a:off x="1014467" y="3218903"/>
            <a:ext cx="10771122" cy="900246"/>
          </a:xfrm>
          <a:prstGeom prst="rect">
            <a:avLst/>
          </a:prstGeom>
          <a:noFill/>
        </p:spPr>
        <p:txBody>
          <a:bodyPr wrap="square" lIns="0" tIns="0" rIns="0" bIns="0" rtlCol="0">
            <a:spAutoFit/>
          </a:bodyPr>
          <a:lstStyle/>
          <a:p>
            <a:pPr defTabSz="913237" fontAlgn="base">
              <a:spcBef>
                <a:spcPts val="300"/>
              </a:spcBef>
              <a:buSzPct val="120000"/>
              <a:defRPr/>
            </a:pPr>
            <a:r>
              <a:rPr lang="en-US" sz="1400" b="1" kern="0" dirty="0">
                <a:solidFill>
                  <a:schemeClr val="tx2"/>
                </a:solidFill>
                <a:latin typeface="Arial" panose="020B0604020202020204" pitchFamily="34" charset="0"/>
                <a:cs typeface="Arial" panose="020B0604020202020204" pitchFamily="34" charset="0"/>
              </a:rPr>
              <a:t>Cost-effective, Scalable data storage and Compute </a:t>
            </a:r>
          </a:p>
          <a:p>
            <a:pPr defTabSz="913237" fontAlgn="base">
              <a:spcBef>
                <a:spcPts val="300"/>
              </a:spcBef>
              <a:buSzPct val="120000"/>
              <a:defRPr/>
            </a:pPr>
            <a:r>
              <a:rPr lang="en-US" sz="1400" kern="0" dirty="0">
                <a:solidFill>
                  <a:srgbClr val="505050"/>
                </a:solidFill>
                <a:latin typeface="Arial" panose="020B0604020202020204" pitchFamily="34" charset="0"/>
                <a:cs typeface="Arial" panose="020B0604020202020204" pitchFamily="34" charset="0"/>
              </a:rPr>
              <a:t>When it comes to storage and compute, the cloud is different from an on-premise data lake. In other words, if you have a 100-node cluster, it stores the data as well as performs the compute. In the cloud, there are separate storage and compute services. And when the data grows, it scales automatically.</a:t>
            </a:r>
          </a:p>
        </p:txBody>
      </p:sp>
      <p:sp>
        <p:nvSpPr>
          <p:cNvPr id="52" name="TextBox 51">
            <a:extLst>
              <a:ext uri="{FF2B5EF4-FFF2-40B4-BE49-F238E27FC236}">
                <a16:creationId xmlns:a16="http://schemas.microsoft.com/office/drawing/2014/main" id="{0FF57D61-456B-499D-B3FE-24138F282E45}"/>
              </a:ext>
            </a:extLst>
          </p:cNvPr>
          <p:cNvSpPr txBox="1"/>
          <p:nvPr/>
        </p:nvSpPr>
        <p:spPr>
          <a:xfrm>
            <a:off x="988142" y="4386438"/>
            <a:ext cx="10620019" cy="697114"/>
          </a:xfrm>
          <a:prstGeom prst="rect">
            <a:avLst/>
          </a:prstGeom>
          <a:noFill/>
        </p:spPr>
        <p:txBody>
          <a:bodyPr wrap="square" lIns="0" tIns="0" rIns="0" bIns="0" rtlCol="0">
            <a:spAutoFit/>
          </a:bodyPr>
          <a:lstStyle/>
          <a:p>
            <a:pPr>
              <a:lnSpc>
                <a:spcPct val="90000"/>
              </a:lnSpc>
              <a:spcAft>
                <a:spcPts val="600"/>
              </a:spcAft>
              <a:defRPr/>
            </a:pPr>
            <a:r>
              <a:rPr lang="en-US" sz="1400" b="1" kern="0" dirty="0">
                <a:solidFill>
                  <a:schemeClr val="tx2"/>
                </a:solidFill>
                <a:latin typeface="Arial" panose="020B0604020202020204" pitchFamily="34" charset="0"/>
                <a:cs typeface="Arial" panose="020B0604020202020204" pitchFamily="34" charset="0"/>
              </a:rPr>
              <a:t>Secured</a:t>
            </a:r>
          </a:p>
          <a:p>
            <a:pPr defTabSz="913237" fontAlgn="base">
              <a:lnSpc>
                <a:spcPct val="90000"/>
              </a:lnSpc>
              <a:spcBef>
                <a:spcPts val="300"/>
              </a:spcBef>
              <a:spcAft>
                <a:spcPts val="600"/>
              </a:spcAft>
              <a:buSzPct val="120000"/>
              <a:defRPr/>
            </a:pPr>
            <a:r>
              <a:rPr lang="en-US" sz="1400" kern="0" dirty="0">
                <a:solidFill>
                  <a:srgbClr val="505050"/>
                </a:solidFill>
                <a:latin typeface="Arial" panose="020B0604020202020204" pitchFamily="34" charset="0"/>
                <a:cs typeface="Arial" panose="020B0604020202020204" pitchFamily="34" charset="0"/>
              </a:rPr>
              <a:t>Data lake hosted on Amazon S3 provides comprehensive security and compliance capabilities that meet even the most stringent regulatory requirements using AWS Cognito by defining the </a:t>
            </a:r>
            <a:r>
              <a:rPr lang="en-US" sz="1400" kern="0" dirty="0" err="1">
                <a:solidFill>
                  <a:srgbClr val="505050"/>
                </a:solidFill>
                <a:latin typeface="Arial" panose="020B0604020202020204" pitchFamily="34" charset="0"/>
                <a:cs typeface="Arial" panose="020B0604020202020204" pitchFamily="34" charset="0"/>
              </a:rPr>
              <a:t>userpool</a:t>
            </a:r>
            <a:r>
              <a:rPr lang="en-US" sz="1400" kern="0" dirty="0">
                <a:solidFill>
                  <a:srgbClr val="505050"/>
                </a:solidFill>
                <a:latin typeface="Arial" panose="020B0604020202020204" pitchFamily="34" charset="0"/>
                <a:cs typeface="Arial" panose="020B0604020202020204" pitchFamily="34" charset="0"/>
              </a:rPr>
              <a:t> specific to the clients.</a:t>
            </a:r>
          </a:p>
        </p:txBody>
      </p:sp>
      <p:sp>
        <p:nvSpPr>
          <p:cNvPr id="53" name="TextBox 52">
            <a:extLst>
              <a:ext uri="{FF2B5EF4-FFF2-40B4-BE49-F238E27FC236}">
                <a16:creationId xmlns:a16="http://schemas.microsoft.com/office/drawing/2014/main" id="{2F76C8AB-537A-4F7F-ADC9-A5B82412B383}"/>
              </a:ext>
            </a:extLst>
          </p:cNvPr>
          <p:cNvSpPr txBox="1"/>
          <p:nvPr/>
        </p:nvSpPr>
        <p:spPr>
          <a:xfrm>
            <a:off x="975263" y="5453160"/>
            <a:ext cx="10724884" cy="658642"/>
          </a:xfrm>
          <a:prstGeom prst="rect">
            <a:avLst/>
          </a:prstGeom>
          <a:noFill/>
        </p:spPr>
        <p:txBody>
          <a:bodyPr wrap="square" lIns="0" tIns="0" rIns="0" bIns="0" rtlCol="0">
            <a:spAutoFit/>
          </a:bodyPr>
          <a:lstStyle/>
          <a:p>
            <a:pPr>
              <a:lnSpc>
                <a:spcPct val="90000"/>
              </a:lnSpc>
              <a:spcAft>
                <a:spcPts val="600"/>
              </a:spcAft>
              <a:defRPr/>
            </a:pPr>
            <a:r>
              <a:rPr lang="en-US" sz="1400" b="1" kern="0" dirty="0">
                <a:solidFill>
                  <a:schemeClr val="tx2"/>
                </a:solidFill>
                <a:latin typeface="Arial" panose="020B0604020202020204" pitchFamily="34" charset="0"/>
                <a:cs typeface="Arial" panose="020B0604020202020204" pitchFamily="34" charset="0"/>
              </a:rPr>
              <a:t>Agile pay-for-use: Dynamic Processing</a:t>
            </a:r>
          </a:p>
          <a:p>
            <a:pPr>
              <a:lnSpc>
                <a:spcPct val="90000"/>
              </a:lnSpc>
              <a:spcAft>
                <a:spcPts val="600"/>
              </a:spcAft>
            </a:pPr>
            <a:r>
              <a:rPr lang="en-US" sz="1400" kern="0" dirty="0">
                <a:solidFill>
                  <a:srgbClr val="505050"/>
                </a:solidFill>
                <a:latin typeface="Arial" panose="020B0604020202020204" pitchFamily="34" charset="0"/>
                <a:cs typeface="Arial" panose="020B0604020202020204" pitchFamily="34" charset="0"/>
              </a:rPr>
              <a:t>Agility and flexibility are the key features of moving to cloud. Can easily scale up and scale down depending upon the business demand and needs</a:t>
            </a:r>
            <a:endParaRPr lang="en-US" sz="1400" dirty="0">
              <a:solidFill>
                <a:srgbClr val="505050"/>
              </a:solidFill>
              <a:latin typeface="Arial" panose="020B0604020202020204" pitchFamily="34" charset="0"/>
              <a:cs typeface="Arial" panose="020B0604020202020204" pitchFamily="34" charset="0"/>
            </a:endParaRPr>
          </a:p>
        </p:txBody>
      </p:sp>
      <p:grpSp>
        <p:nvGrpSpPr>
          <p:cNvPr id="54" name="Group 53">
            <a:extLst>
              <a:ext uri="{FF2B5EF4-FFF2-40B4-BE49-F238E27FC236}">
                <a16:creationId xmlns:a16="http://schemas.microsoft.com/office/drawing/2014/main" id="{78CA349D-ED2C-46E3-A553-E767A9F4F12D}"/>
              </a:ext>
            </a:extLst>
          </p:cNvPr>
          <p:cNvGrpSpPr>
            <a:grpSpLocks noChangeAspect="1"/>
          </p:cNvGrpSpPr>
          <p:nvPr/>
        </p:nvGrpSpPr>
        <p:grpSpPr>
          <a:xfrm>
            <a:off x="307976" y="3225743"/>
            <a:ext cx="516167" cy="516167"/>
            <a:chOff x="1382806" y="3668806"/>
            <a:chExt cx="3025588" cy="3025588"/>
          </a:xfrm>
        </p:grpSpPr>
        <p:sp>
          <p:nvSpPr>
            <p:cNvPr id="55" name="Rectangle 54">
              <a:extLst>
                <a:ext uri="{FF2B5EF4-FFF2-40B4-BE49-F238E27FC236}">
                  <a16:creationId xmlns:a16="http://schemas.microsoft.com/office/drawing/2014/main" id="{FA487E0F-6FC9-40BA-BAE0-703E4A11BC66}"/>
                </a:ext>
              </a:extLst>
            </p:cNvPr>
            <p:cNvSpPr/>
            <p:nvPr/>
          </p:nvSpPr>
          <p:spPr>
            <a:xfrm>
              <a:off x="1382806" y="3668806"/>
              <a:ext cx="3025588" cy="3025588"/>
            </a:xfrm>
            <a:prstGeom prst="rect">
              <a:avLst/>
            </a:prstGeom>
            <a:solidFill>
              <a:srgbClr val="F39C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6" name="Freeform 39">
              <a:extLst>
                <a:ext uri="{FF2B5EF4-FFF2-40B4-BE49-F238E27FC236}">
                  <a16:creationId xmlns:a16="http://schemas.microsoft.com/office/drawing/2014/main" id="{AB48BB22-4125-45C9-90DB-B65C7AC707BE}"/>
                </a:ext>
              </a:extLst>
            </p:cNvPr>
            <p:cNvSpPr/>
            <p:nvPr/>
          </p:nvSpPr>
          <p:spPr>
            <a:xfrm>
              <a:off x="2338093" y="4265700"/>
              <a:ext cx="1180970" cy="1933171"/>
            </a:xfrm>
            <a:custGeom>
              <a:avLst/>
              <a:gdLst/>
              <a:ahLst/>
              <a:cxnLst/>
              <a:rect l="l" t="t" r="r" b="b"/>
              <a:pathLst>
                <a:path w="1180970" h="1933171">
                  <a:moveTo>
                    <a:pt x="634994" y="0"/>
                  </a:moveTo>
                  <a:cubicBezTo>
                    <a:pt x="672579" y="0"/>
                    <a:pt x="702993" y="742"/>
                    <a:pt x="726237" y="2226"/>
                  </a:cubicBezTo>
                  <a:cubicBezTo>
                    <a:pt x="749481" y="3709"/>
                    <a:pt x="767037" y="6182"/>
                    <a:pt x="778906" y="9644"/>
                  </a:cubicBezTo>
                  <a:cubicBezTo>
                    <a:pt x="790775" y="13106"/>
                    <a:pt x="798688" y="17804"/>
                    <a:pt x="802644" y="23738"/>
                  </a:cubicBezTo>
                  <a:cubicBezTo>
                    <a:pt x="806600" y="29673"/>
                    <a:pt x="808579" y="37091"/>
                    <a:pt x="808579" y="45993"/>
                  </a:cubicBezTo>
                  <a:lnTo>
                    <a:pt x="808579" y="1631994"/>
                  </a:lnTo>
                  <a:lnTo>
                    <a:pt x="1121624" y="1631994"/>
                  </a:lnTo>
                  <a:cubicBezTo>
                    <a:pt x="1130526" y="1631994"/>
                    <a:pt x="1138686" y="1634714"/>
                    <a:pt x="1146104" y="1640154"/>
                  </a:cubicBezTo>
                  <a:cubicBezTo>
                    <a:pt x="1153523" y="1645594"/>
                    <a:pt x="1159952" y="1654248"/>
                    <a:pt x="1165392" y="1666117"/>
                  </a:cubicBezTo>
                  <a:cubicBezTo>
                    <a:pt x="1170832" y="1677986"/>
                    <a:pt x="1174788" y="1693564"/>
                    <a:pt x="1177261" y="1712852"/>
                  </a:cubicBezTo>
                  <a:cubicBezTo>
                    <a:pt x="1179733" y="1732139"/>
                    <a:pt x="1180970" y="1756124"/>
                    <a:pt x="1180970" y="1784808"/>
                  </a:cubicBezTo>
                  <a:cubicBezTo>
                    <a:pt x="1180970" y="1812502"/>
                    <a:pt x="1179486" y="1835993"/>
                    <a:pt x="1176519" y="1855280"/>
                  </a:cubicBezTo>
                  <a:cubicBezTo>
                    <a:pt x="1173552" y="1874567"/>
                    <a:pt x="1169348" y="1889898"/>
                    <a:pt x="1163908" y="1901273"/>
                  </a:cubicBezTo>
                  <a:cubicBezTo>
                    <a:pt x="1158468" y="1912647"/>
                    <a:pt x="1152286" y="1920807"/>
                    <a:pt x="1145363" y="1925753"/>
                  </a:cubicBezTo>
                  <a:cubicBezTo>
                    <a:pt x="1138439" y="1930698"/>
                    <a:pt x="1130526" y="1933171"/>
                    <a:pt x="1121624" y="1933171"/>
                  </a:cubicBezTo>
                  <a:lnTo>
                    <a:pt x="62312" y="1933171"/>
                  </a:lnTo>
                  <a:cubicBezTo>
                    <a:pt x="54400" y="1933171"/>
                    <a:pt x="46982" y="1930698"/>
                    <a:pt x="40058" y="1925753"/>
                  </a:cubicBezTo>
                  <a:cubicBezTo>
                    <a:pt x="33134" y="1920807"/>
                    <a:pt x="26953" y="1912647"/>
                    <a:pt x="21513" y="1901273"/>
                  </a:cubicBezTo>
                  <a:cubicBezTo>
                    <a:pt x="16073" y="1889898"/>
                    <a:pt x="11869" y="1874567"/>
                    <a:pt x="8902" y="1855280"/>
                  </a:cubicBezTo>
                  <a:cubicBezTo>
                    <a:pt x="5934" y="1835993"/>
                    <a:pt x="4451" y="1812502"/>
                    <a:pt x="4451" y="1784808"/>
                  </a:cubicBezTo>
                  <a:cubicBezTo>
                    <a:pt x="4451" y="1756124"/>
                    <a:pt x="5687" y="1732139"/>
                    <a:pt x="8160" y="1712852"/>
                  </a:cubicBezTo>
                  <a:cubicBezTo>
                    <a:pt x="10633" y="1693564"/>
                    <a:pt x="14589" y="1677986"/>
                    <a:pt x="20029" y="1666117"/>
                  </a:cubicBezTo>
                  <a:cubicBezTo>
                    <a:pt x="25469" y="1654248"/>
                    <a:pt x="31651" y="1645594"/>
                    <a:pt x="38574" y="1640154"/>
                  </a:cubicBezTo>
                  <a:cubicBezTo>
                    <a:pt x="45498" y="1634714"/>
                    <a:pt x="53411" y="1631994"/>
                    <a:pt x="62312" y="1631994"/>
                  </a:cubicBezTo>
                  <a:lnTo>
                    <a:pt x="419867" y="1631994"/>
                  </a:lnTo>
                  <a:lnTo>
                    <a:pt x="419867" y="382777"/>
                  </a:lnTo>
                  <a:lnTo>
                    <a:pt x="111272" y="553394"/>
                  </a:lnTo>
                  <a:cubicBezTo>
                    <a:pt x="88523" y="564274"/>
                    <a:pt x="69978" y="570951"/>
                    <a:pt x="55636" y="573423"/>
                  </a:cubicBezTo>
                  <a:cubicBezTo>
                    <a:pt x="41294" y="575896"/>
                    <a:pt x="29920" y="572929"/>
                    <a:pt x="21513" y="564522"/>
                  </a:cubicBezTo>
                  <a:cubicBezTo>
                    <a:pt x="13105" y="556114"/>
                    <a:pt x="7418" y="541525"/>
                    <a:pt x="4451" y="520755"/>
                  </a:cubicBezTo>
                  <a:cubicBezTo>
                    <a:pt x="1484" y="499984"/>
                    <a:pt x="0" y="470806"/>
                    <a:pt x="0" y="433220"/>
                  </a:cubicBezTo>
                  <a:cubicBezTo>
                    <a:pt x="0" y="409482"/>
                    <a:pt x="494" y="389948"/>
                    <a:pt x="1484" y="374617"/>
                  </a:cubicBezTo>
                  <a:cubicBezTo>
                    <a:pt x="2473" y="359286"/>
                    <a:pt x="4945" y="346181"/>
                    <a:pt x="8902" y="335301"/>
                  </a:cubicBezTo>
                  <a:cubicBezTo>
                    <a:pt x="12858" y="324421"/>
                    <a:pt x="18298" y="315519"/>
                    <a:pt x="25222" y="308595"/>
                  </a:cubicBezTo>
                  <a:cubicBezTo>
                    <a:pt x="32145" y="301672"/>
                    <a:pt x="41542" y="294254"/>
                    <a:pt x="53411" y="286341"/>
                  </a:cubicBezTo>
                  <a:lnTo>
                    <a:pt x="465860" y="19288"/>
                  </a:lnTo>
                  <a:cubicBezTo>
                    <a:pt x="470805" y="15331"/>
                    <a:pt x="476987" y="12117"/>
                    <a:pt x="484405" y="9644"/>
                  </a:cubicBezTo>
                  <a:cubicBezTo>
                    <a:pt x="491823" y="7171"/>
                    <a:pt x="501467" y="5193"/>
                    <a:pt x="513336" y="3709"/>
                  </a:cubicBezTo>
                  <a:cubicBezTo>
                    <a:pt x="525205" y="2226"/>
                    <a:pt x="540783" y="1237"/>
                    <a:pt x="560070" y="742"/>
                  </a:cubicBezTo>
                  <a:cubicBezTo>
                    <a:pt x="579358" y="248"/>
                    <a:pt x="604332" y="0"/>
                    <a:pt x="634994" y="0"/>
                  </a:cubicBezTo>
                  <a:close/>
                </a:path>
              </a:pathLst>
            </a:custGeom>
            <a:solidFill>
              <a:sysClr val="window" lastClr="FFFFFF"/>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7" name="Freeform 40">
              <a:extLst>
                <a:ext uri="{FF2B5EF4-FFF2-40B4-BE49-F238E27FC236}">
                  <a16:creationId xmlns:a16="http://schemas.microsoft.com/office/drawing/2014/main" id="{FDE7F58F-0298-4CE4-8826-62B6F1D35B53}"/>
                </a:ext>
              </a:extLst>
            </p:cNvPr>
            <p:cNvSpPr/>
            <p:nvPr/>
          </p:nvSpPr>
          <p:spPr>
            <a:xfrm>
              <a:off x="2361975" y="4296064"/>
              <a:ext cx="2046419" cy="2398330"/>
            </a:xfrm>
            <a:custGeom>
              <a:avLst/>
              <a:gdLst>
                <a:gd name="connsiteX0" fmla="*/ 395986 w 2046419"/>
                <a:gd name="connsiteY0" fmla="*/ 352414 h 2398330"/>
                <a:gd name="connsiteX1" fmla="*/ 395987 w 2046419"/>
                <a:gd name="connsiteY1" fmla="*/ 879025 h 2398330"/>
                <a:gd name="connsiteX2" fmla="*/ 0 w 2046419"/>
                <a:gd name="connsiteY2" fmla="*/ 535520 h 2398330"/>
                <a:gd name="connsiteX3" fmla="*/ 12468 w 2046419"/>
                <a:gd name="connsiteY3" fmla="*/ 542690 h 2398330"/>
                <a:gd name="connsiteX4" fmla="*/ 31755 w 2046419"/>
                <a:gd name="connsiteY4" fmla="*/ 543060 h 2398330"/>
                <a:gd name="connsiteX5" fmla="*/ 87391 w 2046419"/>
                <a:gd name="connsiteY5" fmla="*/ 523032 h 2398330"/>
                <a:gd name="connsiteX6" fmla="*/ 780529 w 2046419"/>
                <a:gd name="connsiteY6" fmla="*/ 0 h 2398330"/>
                <a:gd name="connsiteX7" fmla="*/ 2046419 w 2046419"/>
                <a:gd name="connsiteY7" fmla="*/ 1098117 h 2398330"/>
                <a:gd name="connsiteX8" fmla="*/ 2046419 w 2046419"/>
                <a:gd name="connsiteY8" fmla="*/ 2398330 h 2398330"/>
                <a:gd name="connsiteX9" fmla="*/ 599559 w 2046419"/>
                <a:gd name="connsiteY9" fmla="*/ 2398330 h 2398330"/>
                <a:gd name="connsiteX10" fmla="*/ 22023 w 2046419"/>
                <a:gd name="connsiteY10" fmla="*/ 1897337 h 2398330"/>
                <a:gd name="connsiteX11" fmla="*/ 38430 w 2046419"/>
                <a:gd name="connsiteY11" fmla="*/ 1902806 h 2398330"/>
                <a:gd name="connsiteX12" fmla="*/ 1097742 w 2046419"/>
                <a:gd name="connsiteY12" fmla="*/ 1902806 h 2398330"/>
                <a:gd name="connsiteX13" fmla="*/ 1121481 w 2046419"/>
                <a:gd name="connsiteY13" fmla="*/ 1895388 h 2398330"/>
                <a:gd name="connsiteX14" fmla="*/ 1140026 w 2046419"/>
                <a:gd name="connsiteY14" fmla="*/ 1870908 h 2398330"/>
                <a:gd name="connsiteX15" fmla="*/ 1152637 w 2046419"/>
                <a:gd name="connsiteY15" fmla="*/ 1824915 h 2398330"/>
                <a:gd name="connsiteX16" fmla="*/ 1157088 w 2046419"/>
                <a:gd name="connsiteY16" fmla="*/ 1754443 h 2398330"/>
                <a:gd name="connsiteX17" fmla="*/ 1153379 w 2046419"/>
                <a:gd name="connsiteY17" fmla="*/ 1682487 h 2398330"/>
                <a:gd name="connsiteX18" fmla="*/ 1141510 w 2046419"/>
                <a:gd name="connsiteY18" fmla="*/ 1635752 h 2398330"/>
                <a:gd name="connsiteX19" fmla="*/ 1122222 w 2046419"/>
                <a:gd name="connsiteY19" fmla="*/ 1609789 h 2398330"/>
                <a:gd name="connsiteX20" fmla="*/ 1097742 w 2046419"/>
                <a:gd name="connsiteY20" fmla="*/ 1601629 h 2398330"/>
                <a:gd name="connsiteX21" fmla="*/ 784697 w 2046419"/>
                <a:gd name="connsiteY21" fmla="*/ 1601629 h 2398330"/>
                <a:gd name="connsiteX22" fmla="*/ 784697 w 2046419"/>
                <a:gd name="connsiteY22" fmla="*/ 15628 h 239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46419" h="2398330">
                  <a:moveTo>
                    <a:pt x="395986" y="352414"/>
                  </a:moveTo>
                  <a:lnTo>
                    <a:pt x="395987" y="879025"/>
                  </a:lnTo>
                  <a:lnTo>
                    <a:pt x="0" y="535520"/>
                  </a:lnTo>
                  <a:lnTo>
                    <a:pt x="12468" y="542690"/>
                  </a:lnTo>
                  <a:cubicBezTo>
                    <a:pt x="18154" y="544173"/>
                    <a:pt x="24585" y="544297"/>
                    <a:pt x="31755" y="543060"/>
                  </a:cubicBezTo>
                  <a:cubicBezTo>
                    <a:pt x="46097" y="540588"/>
                    <a:pt x="64642" y="533911"/>
                    <a:pt x="87391" y="523032"/>
                  </a:cubicBezTo>
                  <a:close/>
                  <a:moveTo>
                    <a:pt x="780529" y="0"/>
                  </a:moveTo>
                  <a:lnTo>
                    <a:pt x="2046419" y="1098117"/>
                  </a:lnTo>
                  <a:lnTo>
                    <a:pt x="2046419" y="2398330"/>
                  </a:lnTo>
                  <a:lnTo>
                    <a:pt x="599559" y="2398330"/>
                  </a:lnTo>
                  <a:lnTo>
                    <a:pt x="22023" y="1897337"/>
                  </a:lnTo>
                  <a:lnTo>
                    <a:pt x="38430" y="1902806"/>
                  </a:lnTo>
                  <a:lnTo>
                    <a:pt x="1097742" y="1902806"/>
                  </a:lnTo>
                  <a:cubicBezTo>
                    <a:pt x="1106644" y="1902806"/>
                    <a:pt x="1114557" y="1900333"/>
                    <a:pt x="1121481" y="1895388"/>
                  </a:cubicBezTo>
                  <a:cubicBezTo>
                    <a:pt x="1128404" y="1890442"/>
                    <a:pt x="1134586" y="1882282"/>
                    <a:pt x="1140026" y="1870908"/>
                  </a:cubicBezTo>
                  <a:cubicBezTo>
                    <a:pt x="1145466" y="1859533"/>
                    <a:pt x="1149670" y="1844202"/>
                    <a:pt x="1152637" y="1824915"/>
                  </a:cubicBezTo>
                  <a:cubicBezTo>
                    <a:pt x="1155604" y="1805628"/>
                    <a:pt x="1157088" y="1782137"/>
                    <a:pt x="1157088" y="1754443"/>
                  </a:cubicBezTo>
                  <a:cubicBezTo>
                    <a:pt x="1157088" y="1725759"/>
                    <a:pt x="1155851" y="1701774"/>
                    <a:pt x="1153379" y="1682487"/>
                  </a:cubicBezTo>
                  <a:cubicBezTo>
                    <a:pt x="1150906" y="1663199"/>
                    <a:pt x="1146950" y="1647621"/>
                    <a:pt x="1141510" y="1635752"/>
                  </a:cubicBezTo>
                  <a:cubicBezTo>
                    <a:pt x="1136070" y="1623883"/>
                    <a:pt x="1129641" y="1615229"/>
                    <a:pt x="1122222" y="1609789"/>
                  </a:cubicBezTo>
                  <a:cubicBezTo>
                    <a:pt x="1114804" y="1604349"/>
                    <a:pt x="1106644" y="1601629"/>
                    <a:pt x="1097742" y="1601629"/>
                  </a:cubicBezTo>
                  <a:lnTo>
                    <a:pt x="784697" y="1601629"/>
                  </a:lnTo>
                  <a:lnTo>
                    <a:pt x="784697" y="15628"/>
                  </a:lnTo>
                  <a:close/>
                </a:path>
              </a:pathLst>
            </a:custGeom>
            <a:solidFill>
              <a:srgbClr val="000000">
                <a:alpha val="20000"/>
              </a:srgbClr>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58" name="Group 57">
            <a:extLst>
              <a:ext uri="{FF2B5EF4-FFF2-40B4-BE49-F238E27FC236}">
                <a16:creationId xmlns:a16="http://schemas.microsoft.com/office/drawing/2014/main" id="{9B6C14AA-9056-4548-985A-B17F54B7CE25}"/>
              </a:ext>
            </a:extLst>
          </p:cNvPr>
          <p:cNvGrpSpPr>
            <a:grpSpLocks noChangeAspect="1"/>
          </p:cNvGrpSpPr>
          <p:nvPr/>
        </p:nvGrpSpPr>
        <p:grpSpPr>
          <a:xfrm>
            <a:off x="307976" y="4393749"/>
            <a:ext cx="512064" cy="512064"/>
            <a:chOff x="1382807" y="174388"/>
            <a:chExt cx="3025589" cy="3025589"/>
          </a:xfrm>
        </p:grpSpPr>
        <p:sp>
          <p:nvSpPr>
            <p:cNvPr id="59" name="Rectangle 58">
              <a:extLst>
                <a:ext uri="{FF2B5EF4-FFF2-40B4-BE49-F238E27FC236}">
                  <a16:creationId xmlns:a16="http://schemas.microsoft.com/office/drawing/2014/main" id="{FE3A3A34-6DA4-413B-A149-882A85E22A2D}"/>
                </a:ext>
              </a:extLst>
            </p:cNvPr>
            <p:cNvSpPr/>
            <p:nvPr/>
          </p:nvSpPr>
          <p:spPr>
            <a:xfrm>
              <a:off x="1382807" y="174388"/>
              <a:ext cx="3025588" cy="3025588"/>
            </a:xfrm>
            <a:prstGeom prst="rect">
              <a:avLst/>
            </a:prstGeom>
            <a:solidFill>
              <a:srgbClr val="C03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60" name="Freeform 43">
              <a:extLst>
                <a:ext uri="{FF2B5EF4-FFF2-40B4-BE49-F238E27FC236}">
                  <a16:creationId xmlns:a16="http://schemas.microsoft.com/office/drawing/2014/main" id="{884EA2C1-0DDB-425A-B47D-F84031E79E09}"/>
                </a:ext>
              </a:extLst>
            </p:cNvPr>
            <p:cNvSpPr/>
            <p:nvPr/>
          </p:nvSpPr>
          <p:spPr>
            <a:xfrm>
              <a:off x="2249080" y="750510"/>
              <a:ext cx="1287791" cy="1953942"/>
            </a:xfrm>
            <a:custGeom>
              <a:avLst/>
              <a:gdLst/>
              <a:ahLst/>
              <a:cxnLst/>
              <a:rect l="l" t="t" r="r" b="b"/>
              <a:pathLst>
                <a:path w="1287791" h="1953942">
                  <a:moveTo>
                    <a:pt x="615707" y="0"/>
                  </a:moveTo>
                  <a:cubicBezTo>
                    <a:pt x="715605" y="0"/>
                    <a:pt x="802891" y="12611"/>
                    <a:pt x="877568" y="37833"/>
                  </a:cubicBezTo>
                  <a:cubicBezTo>
                    <a:pt x="952244" y="63055"/>
                    <a:pt x="1014309" y="98167"/>
                    <a:pt x="1063763" y="143171"/>
                  </a:cubicBezTo>
                  <a:cubicBezTo>
                    <a:pt x="1113217" y="188174"/>
                    <a:pt x="1150061" y="241585"/>
                    <a:pt x="1174294" y="303403"/>
                  </a:cubicBezTo>
                  <a:cubicBezTo>
                    <a:pt x="1198526" y="365221"/>
                    <a:pt x="1210642" y="431737"/>
                    <a:pt x="1210642" y="502951"/>
                  </a:cubicBezTo>
                  <a:cubicBezTo>
                    <a:pt x="1210642" y="565264"/>
                    <a:pt x="1204708" y="626587"/>
                    <a:pt x="1192839" y="686921"/>
                  </a:cubicBezTo>
                  <a:cubicBezTo>
                    <a:pt x="1180970" y="747256"/>
                    <a:pt x="1156243" y="812288"/>
                    <a:pt x="1118657" y="882019"/>
                  </a:cubicBezTo>
                  <a:cubicBezTo>
                    <a:pt x="1081072" y="951749"/>
                    <a:pt x="1028156" y="1028898"/>
                    <a:pt x="959909" y="1113465"/>
                  </a:cubicBezTo>
                  <a:cubicBezTo>
                    <a:pt x="891662" y="1198032"/>
                    <a:pt x="801161" y="1296199"/>
                    <a:pt x="688405" y="1407966"/>
                  </a:cubicBezTo>
                  <a:lnTo>
                    <a:pt x="464376" y="1637928"/>
                  </a:lnTo>
                  <a:lnTo>
                    <a:pt x="1221028" y="1637928"/>
                  </a:lnTo>
                  <a:cubicBezTo>
                    <a:pt x="1230919" y="1637928"/>
                    <a:pt x="1240068" y="1640896"/>
                    <a:pt x="1248475" y="1646830"/>
                  </a:cubicBezTo>
                  <a:cubicBezTo>
                    <a:pt x="1256882" y="1652765"/>
                    <a:pt x="1264053" y="1661914"/>
                    <a:pt x="1269988" y="1674277"/>
                  </a:cubicBezTo>
                  <a:cubicBezTo>
                    <a:pt x="1275922" y="1686641"/>
                    <a:pt x="1280373" y="1702961"/>
                    <a:pt x="1283340" y="1723237"/>
                  </a:cubicBezTo>
                  <a:cubicBezTo>
                    <a:pt x="1286308" y="1743513"/>
                    <a:pt x="1287791" y="1767499"/>
                    <a:pt x="1287791" y="1795193"/>
                  </a:cubicBezTo>
                  <a:cubicBezTo>
                    <a:pt x="1287791" y="1823877"/>
                    <a:pt x="1286555" y="1848357"/>
                    <a:pt x="1284082" y="1868633"/>
                  </a:cubicBezTo>
                  <a:cubicBezTo>
                    <a:pt x="1281609" y="1888909"/>
                    <a:pt x="1277900" y="1905476"/>
                    <a:pt x="1272955" y="1918335"/>
                  </a:cubicBezTo>
                  <a:cubicBezTo>
                    <a:pt x="1268010" y="1931193"/>
                    <a:pt x="1261580" y="1940342"/>
                    <a:pt x="1253668" y="1945782"/>
                  </a:cubicBezTo>
                  <a:cubicBezTo>
                    <a:pt x="1245755" y="1951222"/>
                    <a:pt x="1236853" y="1953942"/>
                    <a:pt x="1226962" y="1953942"/>
                  </a:cubicBezTo>
                  <a:lnTo>
                    <a:pt x="123141" y="1953942"/>
                  </a:lnTo>
                  <a:cubicBezTo>
                    <a:pt x="101382" y="1953942"/>
                    <a:pt x="82589" y="1951963"/>
                    <a:pt x="66764" y="1948007"/>
                  </a:cubicBezTo>
                  <a:cubicBezTo>
                    <a:pt x="50938" y="1944051"/>
                    <a:pt x="38080" y="1936385"/>
                    <a:pt x="28189" y="1925011"/>
                  </a:cubicBezTo>
                  <a:cubicBezTo>
                    <a:pt x="18298" y="1913636"/>
                    <a:pt x="11127" y="1897069"/>
                    <a:pt x="6676" y="1875309"/>
                  </a:cubicBezTo>
                  <a:cubicBezTo>
                    <a:pt x="2226" y="1853549"/>
                    <a:pt x="0" y="1825360"/>
                    <a:pt x="0" y="1790742"/>
                  </a:cubicBezTo>
                  <a:cubicBezTo>
                    <a:pt x="0" y="1758103"/>
                    <a:pt x="1484" y="1730161"/>
                    <a:pt x="4451" y="1706917"/>
                  </a:cubicBezTo>
                  <a:cubicBezTo>
                    <a:pt x="7418" y="1683674"/>
                    <a:pt x="12858" y="1662903"/>
                    <a:pt x="20771" y="1644605"/>
                  </a:cubicBezTo>
                  <a:cubicBezTo>
                    <a:pt x="28684" y="1626307"/>
                    <a:pt x="38822" y="1608503"/>
                    <a:pt x="51185" y="1591194"/>
                  </a:cubicBezTo>
                  <a:cubicBezTo>
                    <a:pt x="63549" y="1573885"/>
                    <a:pt x="79622" y="1554845"/>
                    <a:pt x="99403" y="1534074"/>
                  </a:cubicBezTo>
                  <a:lnTo>
                    <a:pt x="431737" y="1178003"/>
                  </a:lnTo>
                  <a:cubicBezTo>
                    <a:pt x="498005" y="1108767"/>
                    <a:pt x="551416" y="1045713"/>
                    <a:pt x="591969" y="988840"/>
                  </a:cubicBezTo>
                  <a:cubicBezTo>
                    <a:pt x="632521" y="931968"/>
                    <a:pt x="664172" y="880041"/>
                    <a:pt x="686921" y="833059"/>
                  </a:cubicBezTo>
                  <a:cubicBezTo>
                    <a:pt x="709670" y="786077"/>
                    <a:pt x="725248" y="742805"/>
                    <a:pt x="733655" y="703241"/>
                  </a:cubicBezTo>
                  <a:cubicBezTo>
                    <a:pt x="742063" y="663678"/>
                    <a:pt x="746266" y="626092"/>
                    <a:pt x="746266" y="590485"/>
                  </a:cubicBezTo>
                  <a:cubicBezTo>
                    <a:pt x="746266" y="557845"/>
                    <a:pt x="741074" y="526936"/>
                    <a:pt x="730688" y="497758"/>
                  </a:cubicBezTo>
                  <a:cubicBezTo>
                    <a:pt x="720303" y="468580"/>
                    <a:pt x="704972" y="443111"/>
                    <a:pt x="684696" y="421351"/>
                  </a:cubicBezTo>
                  <a:cubicBezTo>
                    <a:pt x="664419" y="399591"/>
                    <a:pt x="638950" y="382530"/>
                    <a:pt x="608289" y="370166"/>
                  </a:cubicBezTo>
                  <a:cubicBezTo>
                    <a:pt x="577627" y="357802"/>
                    <a:pt x="541525" y="351621"/>
                    <a:pt x="499984" y="351621"/>
                  </a:cubicBezTo>
                  <a:cubicBezTo>
                    <a:pt x="441627" y="351621"/>
                    <a:pt x="389948" y="359039"/>
                    <a:pt x="344944" y="373875"/>
                  </a:cubicBezTo>
                  <a:cubicBezTo>
                    <a:pt x="299941" y="388711"/>
                    <a:pt x="260377" y="405279"/>
                    <a:pt x="226254" y="423577"/>
                  </a:cubicBezTo>
                  <a:cubicBezTo>
                    <a:pt x="192130" y="441875"/>
                    <a:pt x="163694" y="458689"/>
                    <a:pt x="140945" y="474020"/>
                  </a:cubicBezTo>
                  <a:cubicBezTo>
                    <a:pt x="118196" y="489351"/>
                    <a:pt x="100392" y="497017"/>
                    <a:pt x="87534" y="497017"/>
                  </a:cubicBezTo>
                  <a:cubicBezTo>
                    <a:pt x="78633" y="497017"/>
                    <a:pt x="70967" y="494049"/>
                    <a:pt x="64538" y="488115"/>
                  </a:cubicBezTo>
                  <a:cubicBezTo>
                    <a:pt x="58109" y="482180"/>
                    <a:pt x="52916" y="472289"/>
                    <a:pt x="48960" y="458442"/>
                  </a:cubicBezTo>
                  <a:cubicBezTo>
                    <a:pt x="45004" y="444595"/>
                    <a:pt x="41789" y="426049"/>
                    <a:pt x="39316" y="402806"/>
                  </a:cubicBezTo>
                  <a:cubicBezTo>
                    <a:pt x="36844" y="379562"/>
                    <a:pt x="35607" y="351126"/>
                    <a:pt x="35607" y="317497"/>
                  </a:cubicBezTo>
                  <a:cubicBezTo>
                    <a:pt x="35607" y="294748"/>
                    <a:pt x="36349" y="275708"/>
                    <a:pt x="37833" y="260377"/>
                  </a:cubicBezTo>
                  <a:cubicBezTo>
                    <a:pt x="39316" y="245047"/>
                    <a:pt x="41542" y="231694"/>
                    <a:pt x="44509" y="220319"/>
                  </a:cubicBezTo>
                  <a:cubicBezTo>
                    <a:pt x="47476" y="208945"/>
                    <a:pt x="51433" y="199054"/>
                    <a:pt x="56378" y="190647"/>
                  </a:cubicBezTo>
                  <a:cubicBezTo>
                    <a:pt x="61324" y="182240"/>
                    <a:pt x="69978" y="172101"/>
                    <a:pt x="82342" y="160232"/>
                  </a:cubicBezTo>
                  <a:cubicBezTo>
                    <a:pt x="94705" y="148363"/>
                    <a:pt x="117454" y="133280"/>
                    <a:pt x="150589" y="114982"/>
                  </a:cubicBezTo>
                  <a:cubicBezTo>
                    <a:pt x="183723" y="96684"/>
                    <a:pt x="224523" y="78880"/>
                    <a:pt x="272988" y="61571"/>
                  </a:cubicBezTo>
                  <a:cubicBezTo>
                    <a:pt x="321453" y="44262"/>
                    <a:pt x="374864" y="29673"/>
                    <a:pt x="433220" y="17804"/>
                  </a:cubicBezTo>
                  <a:cubicBezTo>
                    <a:pt x="491576" y="5935"/>
                    <a:pt x="552405" y="0"/>
                    <a:pt x="61570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0D97049A-2851-4456-9D0D-9243A15E93FF}"/>
                </a:ext>
              </a:extLst>
            </p:cNvPr>
            <p:cNvSpPr txBox="1"/>
            <p:nvPr/>
          </p:nvSpPr>
          <p:spPr>
            <a:xfrm>
              <a:off x="2292711" y="898530"/>
              <a:ext cx="2115685" cy="2301447"/>
            </a:xfrm>
            <a:custGeom>
              <a:avLst/>
              <a:gdLst>
                <a:gd name="connsiteX0" fmla="*/ 456353 w 2115685"/>
                <a:gd name="connsiteY0" fmla="*/ 203601 h 2301447"/>
                <a:gd name="connsiteX1" fmla="*/ 564658 w 2115685"/>
                <a:gd name="connsiteY1" fmla="*/ 222146 h 2301447"/>
                <a:gd name="connsiteX2" fmla="*/ 641065 w 2115685"/>
                <a:gd name="connsiteY2" fmla="*/ 273331 h 2301447"/>
                <a:gd name="connsiteX3" fmla="*/ 687057 w 2115685"/>
                <a:gd name="connsiteY3" fmla="*/ 349738 h 2301447"/>
                <a:gd name="connsiteX4" fmla="*/ 702635 w 2115685"/>
                <a:gd name="connsiteY4" fmla="*/ 442465 h 2301447"/>
                <a:gd name="connsiteX5" fmla="*/ 690024 w 2115685"/>
                <a:gd name="connsiteY5" fmla="*/ 555221 h 2301447"/>
                <a:gd name="connsiteX6" fmla="*/ 643290 w 2115685"/>
                <a:gd name="connsiteY6" fmla="*/ 685039 h 2301447"/>
                <a:gd name="connsiteX7" fmla="*/ 602490 w 2115685"/>
                <a:gd name="connsiteY7" fmla="*/ 759221 h 2301447"/>
                <a:gd name="connsiteX8" fmla="*/ 567532 w 2115685"/>
                <a:gd name="connsiteY8" fmla="*/ 811898 h 2301447"/>
                <a:gd name="connsiteX9" fmla="*/ 25852 w 2115685"/>
                <a:gd name="connsiteY9" fmla="*/ 342009 h 2301447"/>
                <a:gd name="connsiteX10" fmla="*/ 43903 w 2115685"/>
                <a:gd name="connsiteY10" fmla="*/ 348997 h 2301447"/>
                <a:gd name="connsiteX11" fmla="*/ 97314 w 2115685"/>
                <a:gd name="connsiteY11" fmla="*/ 326000 h 2301447"/>
                <a:gd name="connsiteX12" fmla="*/ 182623 w 2115685"/>
                <a:gd name="connsiteY12" fmla="*/ 275557 h 2301447"/>
                <a:gd name="connsiteX13" fmla="*/ 301313 w 2115685"/>
                <a:gd name="connsiteY13" fmla="*/ 225855 h 2301447"/>
                <a:gd name="connsiteX14" fmla="*/ 456353 w 2115685"/>
                <a:gd name="connsiteY14" fmla="*/ 203601 h 2301447"/>
                <a:gd name="connsiteX15" fmla="*/ 1024383 w 2115685"/>
                <a:gd name="connsiteY15" fmla="*/ 0 h 2301447"/>
                <a:gd name="connsiteX16" fmla="*/ 2115685 w 2115685"/>
                <a:gd name="connsiteY16" fmla="*/ 946668 h 2301447"/>
                <a:gd name="connsiteX17" fmla="*/ 2115685 w 2115685"/>
                <a:gd name="connsiteY17" fmla="*/ 2301447 h 2301447"/>
                <a:gd name="connsiteX18" fmla="*/ 593970 w 2115685"/>
                <a:gd name="connsiteY18" fmla="*/ 2301447 h 2301447"/>
                <a:gd name="connsiteX19" fmla="*/ 0 w 2115685"/>
                <a:gd name="connsiteY19" fmla="*/ 1786198 h 2301447"/>
                <a:gd name="connsiteX20" fmla="*/ 23133 w 2115685"/>
                <a:gd name="connsiteY20" fmla="*/ 1799988 h 2301447"/>
                <a:gd name="connsiteX21" fmla="*/ 79510 w 2115685"/>
                <a:gd name="connsiteY21" fmla="*/ 1805923 h 2301447"/>
                <a:gd name="connsiteX22" fmla="*/ 1183331 w 2115685"/>
                <a:gd name="connsiteY22" fmla="*/ 1805923 h 2301447"/>
                <a:gd name="connsiteX23" fmla="*/ 1210037 w 2115685"/>
                <a:gd name="connsiteY23" fmla="*/ 1797763 h 2301447"/>
                <a:gd name="connsiteX24" fmla="*/ 1229324 w 2115685"/>
                <a:gd name="connsiteY24" fmla="*/ 1770316 h 2301447"/>
                <a:gd name="connsiteX25" fmla="*/ 1240451 w 2115685"/>
                <a:gd name="connsiteY25" fmla="*/ 1720614 h 2301447"/>
                <a:gd name="connsiteX26" fmla="*/ 1244160 w 2115685"/>
                <a:gd name="connsiteY26" fmla="*/ 1647174 h 2301447"/>
                <a:gd name="connsiteX27" fmla="*/ 1239709 w 2115685"/>
                <a:gd name="connsiteY27" fmla="*/ 1575218 h 2301447"/>
                <a:gd name="connsiteX28" fmla="*/ 1226357 w 2115685"/>
                <a:gd name="connsiteY28" fmla="*/ 1526258 h 2301447"/>
                <a:gd name="connsiteX29" fmla="*/ 1204844 w 2115685"/>
                <a:gd name="connsiteY29" fmla="*/ 1498811 h 2301447"/>
                <a:gd name="connsiteX30" fmla="*/ 1177397 w 2115685"/>
                <a:gd name="connsiteY30" fmla="*/ 1489909 h 2301447"/>
                <a:gd name="connsiteX31" fmla="*/ 420745 w 2115685"/>
                <a:gd name="connsiteY31" fmla="*/ 1489909 h 2301447"/>
                <a:gd name="connsiteX32" fmla="*/ 644774 w 2115685"/>
                <a:gd name="connsiteY32" fmla="*/ 1259947 h 2301447"/>
                <a:gd name="connsiteX33" fmla="*/ 916278 w 2115685"/>
                <a:gd name="connsiteY33" fmla="*/ 965446 h 2301447"/>
                <a:gd name="connsiteX34" fmla="*/ 1075026 w 2115685"/>
                <a:gd name="connsiteY34" fmla="*/ 734000 h 2301447"/>
                <a:gd name="connsiteX35" fmla="*/ 1149208 w 2115685"/>
                <a:gd name="connsiteY35" fmla="*/ 538902 h 2301447"/>
                <a:gd name="connsiteX36" fmla="*/ 1167011 w 2115685"/>
                <a:gd name="connsiteY36" fmla="*/ 354932 h 2301447"/>
                <a:gd name="connsiteX37" fmla="*/ 1130663 w 2115685"/>
                <a:gd name="connsiteY37" fmla="*/ 155384 h 2301447"/>
                <a:gd name="connsiteX38" fmla="*/ 1084855 w 2115685"/>
                <a:gd name="connsiteY38" fmla="*/ 68962 h 230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15685" h="2301447">
                  <a:moveTo>
                    <a:pt x="456353" y="203601"/>
                  </a:moveTo>
                  <a:cubicBezTo>
                    <a:pt x="497894" y="203601"/>
                    <a:pt x="533996" y="209782"/>
                    <a:pt x="564658" y="222146"/>
                  </a:cubicBezTo>
                  <a:cubicBezTo>
                    <a:pt x="595319" y="234510"/>
                    <a:pt x="620788" y="251571"/>
                    <a:pt x="641065" y="273331"/>
                  </a:cubicBezTo>
                  <a:cubicBezTo>
                    <a:pt x="661341" y="295091"/>
                    <a:pt x="676672" y="320560"/>
                    <a:pt x="687057" y="349738"/>
                  </a:cubicBezTo>
                  <a:cubicBezTo>
                    <a:pt x="697443" y="378916"/>
                    <a:pt x="702635" y="409825"/>
                    <a:pt x="702635" y="442465"/>
                  </a:cubicBezTo>
                  <a:cubicBezTo>
                    <a:pt x="702635" y="478072"/>
                    <a:pt x="698432" y="515658"/>
                    <a:pt x="690024" y="555221"/>
                  </a:cubicBezTo>
                  <a:cubicBezTo>
                    <a:pt x="681617" y="594785"/>
                    <a:pt x="666039" y="638057"/>
                    <a:pt x="643290" y="685039"/>
                  </a:cubicBezTo>
                  <a:cubicBezTo>
                    <a:pt x="631916" y="708530"/>
                    <a:pt x="618316" y="733257"/>
                    <a:pt x="602490" y="759221"/>
                  </a:cubicBezTo>
                  <a:lnTo>
                    <a:pt x="567532" y="811898"/>
                  </a:lnTo>
                  <a:lnTo>
                    <a:pt x="25852" y="342009"/>
                  </a:lnTo>
                  <a:lnTo>
                    <a:pt x="43903" y="348997"/>
                  </a:lnTo>
                  <a:cubicBezTo>
                    <a:pt x="56761" y="348997"/>
                    <a:pt x="74565" y="341331"/>
                    <a:pt x="97314" y="326000"/>
                  </a:cubicBezTo>
                  <a:cubicBezTo>
                    <a:pt x="120063" y="310669"/>
                    <a:pt x="148499" y="293855"/>
                    <a:pt x="182623" y="275557"/>
                  </a:cubicBezTo>
                  <a:cubicBezTo>
                    <a:pt x="216746" y="257259"/>
                    <a:pt x="256310" y="240691"/>
                    <a:pt x="301313" y="225855"/>
                  </a:cubicBezTo>
                  <a:cubicBezTo>
                    <a:pt x="346317" y="211019"/>
                    <a:pt x="397996" y="203601"/>
                    <a:pt x="456353" y="203601"/>
                  </a:cubicBezTo>
                  <a:close/>
                  <a:moveTo>
                    <a:pt x="1024383" y="0"/>
                  </a:moveTo>
                  <a:lnTo>
                    <a:pt x="2115685" y="946668"/>
                  </a:lnTo>
                  <a:lnTo>
                    <a:pt x="2115685" y="2301447"/>
                  </a:lnTo>
                  <a:lnTo>
                    <a:pt x="593970" y="2301447"/>
                  </a:lnTo>
                  <a:lnTo>
                    <a:pt x="0" y="1786198"/>
                  </a:lnTo>
                  <a:lnTo>
                    <a:pt x="23133" y="1799988"/>
                  </a:lnTo>
                  <a:cubicBezTo>
                    <a:pt x="38958" y="1803944"/>
                    <a:pt x="57751" y="1805923"/>
                    <a:pt x="79510" y="1805923"/>
                  </a:cubicBezTo>
                  <a:lnTo>
                    <a:pt x="1183331" y="1805923"/>
                  </a:lnTo>
                  <a:cubicBezTo>
                    <a:pt x="1193222" y="1805923"/>
                    <a:pt x="1202124" y="1803203"/>
                    <a:pt x="1210037" y="1797763"/>
                  </a:cubicBezTo>
                  <a:cubicBezTo>
                    <a:pt x="1217949" y="1792323"/>
                    <a:pt x="1224379" y="1783174"/>
                    <a:pt x="1229324" y="1770316"/>
                  </a:cubicBezTo>
                  <a:cubicBezTo>
                    <a:pt x="1234269" y="1757457"/>
                    <a:pt x="1237978" y="1740890"/>
                    <a:pt x="1240451" y="1720614"/>
                  </a:cubicBezTo>
                  <a:cubicBezTo>
                    <a:pt x="1242924" y="1700338"/>
                    <a:pt x="1244160" y="1675858"/>
                    <a:pt x="1244160" y="1647174"/>
                  </a:cubicBezTo>
                  <a:cubicBezTo>
                    <a:pt x="1244160" y="1619480"/>
                    <a:pt x="1242677" y="1595494"/>
                    <a:pt x="1239709" y="1575218"/>
                  </a:cubicBezTo>
                  <a:cubicBezTo>
                    <a:pt x="1236742" y="1554942"/>
                    <a:pt x="1232291" y="1538622"/>
                    <a:pt x="1226357" y="1526258"/>
                  </a:cubicBezTo>
                  <a:cubicBezTo>
                    <a:pt x="1220422" y="1513895"/>
                    <a:pt x="1213251" y="1504746"/>
                    <a:pt x="1204844" y="1498811"/>
                  </a:cubicBezTo>
                  <a:cubicBezTo>
                    <a:pt x="1196437" y="1492877"/>
                    <a:pt x="1187288" y="1489909"/>
                    <a:pt x="1177397" y="1489909"/>
                  </a:cubicBezTo>
                  <a:lnTo>
                    <a:pt x="420745" y="1489909"/>
                  </a:lnTo>
                  <a:lnTo>
                    <a:pt x="644774" y="1259947"/>
                  </a:lnTo>
                  <a:cubicBezTo>
                    <a:pt x="757530" y="1148180"/>
                    <a:pt x="848031" y="1050013"/>
                    <a:pt x="916278" y="965446"/>
                  </a:cubicBezTo>
                  <a:cubicBezTo>
                    <a:pt x="984525" y="880879"/>
                    <a:pt x="1037441" y="803730"/>
                    <a:pt x="1075026" y="734000"/>
                  </a:cubicBezTo>
                  <a:cubicBezTo>
                    <a:pt x="1112612" y="664269"/>
                    <a:pt x="1137339" y="599237"/>
                    <a:pt x="1149208" y="538902"/>
                  </a:cubicBezTo>
                  <a:cubicBezTo>
                    <a:pt x="1161077" y="478568"/>
                    <a:pt x="1167011" y="417245"/>
                    <a:pt x="1167011" y="354932"/>
                  </a:cubicBezTo>
                  <a:cubicBezTo>
                    <a:pt x="1167011" y="283718"/>
                    <a:pt x="1154895" y="217202"/>
                    <a:pt x="1130663" y="155384"/>
                  </a:cubicBezTo>
                  <a:cubicBezTo>
                    <a:pt x="1118547" y="124475"/>
                    <a:pt x="1103277" y="95668"/>
                    <a:pt x="1084855" y="68962"/>
                  </a:cubicBez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dirty="0">
                <a:latin typeface="Arial" panose="020B0604020202020204" pitchFamily="34" charset="0"/>
                <a:cs typeface="Arial" panose="020B0604020202020204" pitchFamily="34" charset="0"/>
              </a:endParaRPr>
            </a:p>
          </p:txBody>
        </p:sp>
      </p:grpSp>
      <p:grpSp>
        <p:nvGrpSpPr>
          <p:cNvPr id="62" name="Group 61">
            <a:extLst>
              <a:ext uri="{FF2B5EF4-FFF2-40B4-BE49-F238E27FC236}">
                <a16:creationId xmlns:a16="http://schemas.microsoft.com/office/drawing/2014/main" id="{E8B5E825-2751-4DCC-9BB3-6362C9C709A9}"/>
              </a:ext>
            </a:extLst>
          </p:cNvPr>
          <p:cNvGrpSpPr>
            <a:grpSpLocks noChangeAspect="1"/>
          </p:cNvGrpSpPr>
          <p:nvPr/>
        </p:nvGrpSpPr>
        <p:grpSpPr>
          <a:xfrm>
            <a:off x="307531" y="5406244"/>
            <a:ext cx="512064" cy="512064"/>
            <a:chOff x="1382806" y="3668806"/>
            <a:chExt cx="3025589" cy="3025588"/>
          </a:xfrm>
        </p:grpSpPr>
        <p:sp>
          <p:nvSpPr>
            <p:cNvPr id="63" name="Rectangle 62">
              <a:extLst>
                <a:ext uri="{FF2B5EF4-FFF2-40B4-BE49-F238E27FC236}">
                  <a16:creationId xmlns:a16="http://schemas.microsoft.com/office/drawing/2014/main" id="{413A8AD4-1262-4F02-A590-C998EE7B56CA}"/>
                </a:ext>
              </a:extLst>
            </p:cNvPr>
            <p:cNvSpPr/>
            <p:nvPr/>
          </p:nvSpPr>
          <p:spPr>
            <a:xfrm>
              <a:off x="1382806" y="3668806"/>
              <a:ext cx="3025588" cy="3025588"/>
            </a:xfrm>
            <a:prstGeom prst="rect">
              <a:avLst/>
            </a:prstGeom>
            <a:solidFill>
              <a:srgbClr val="9BBB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CBB1E67B-85EB-449A-962D-9ED6978CFEA0}"/>
                </a:ext>
              </a:extLst>
            </p:cNvPr>
            <p:cNvSpPr txBox="1"/>
            <p:nvPr/>
          </p:nvSpPr>
          <p:spPr>
            <a:xfrm>
              <a:off x="2301328" y="4390328"/>
              <a:ext cx="2107067" cy="2304066"/>
            </a:xfrm>
            <a:custGeom>
              <a:avLst/>
              <a:gdLst>
                <a:gd name="connsiteX0" fmla="*/ 163419 w 2107067"/>
                <a:gd name="connsiteY0" fmla="*/ 966904 h 2304066"/>
                <a:gd name="connsiteX1" fmla="*/ 194031 w 2107067"/>
                <a:gd name="connsiteY1" fmla="*/ 971774 h 2304066"/>
                <a:gd name="connsiteX2" fmla="*/ 360197 w 2107067"/>
                <a:gd name="connsiteY2" fmla="*/ 971774 h 2304066"/>
                <a:gd name="connsiteX3" fmla="*/ 543426 w 2107067"/>
                <a:gd name="connsiteY3" fmla="*/ 992545 h 2304066"/>
                <a:gd name="connsiteX4" fmla="*/ 672502 w 2107067"/>
                <a:gd name="connsiteY4" fmla="*/ 1051148 h 2304066"/>
                <a:gd name="connsiteX5" fmla="*/ 749650 w 2107067"/>
                <a:gd name="connsiteY5" fmla="*/ 1142392 h 2304066"/>
                <a:gd name="connsiteX6" fmla="*/ 775614 w 2107067"/>
                <a:gd name="connsiteY6" fmla="*/ 1262566 h 2304066"/>
                <a:gd name="connsiteX7" fmla="*/ 754101 w 2107067"/>
                <a:gd name="connsiteY7" fmla="*/ 1373096 h 2304066"/>
                <a:gd name="connsiteX8" fmla="*/ 727025 w 2107067"/>
                <a:gd name="connsiteY8" fmla="*/ 1419089 h 2304066"/>
                <a:gd name="connsiteX9" fmla="*/ 707462 w 2107067"/>
                <a:gd name="connsiteY9" fmla="*/ 1438843 h 2304066"/>
                <a:gd name="connsiteX10" fmla="*/ 449215 w 2107067"/>
                <a:gd name="connsiteY10" fmla="*/ 164679 h 2304066"/>
                <a:gd name="connsiteX11" fmla="*/ 567906 w 2107067"/>
                <a:gd name="connsiteY11" fmla="*/ 183225 h 2304066"/>
                <a:gd name="connsiteX12" fmla="*/ 650247 w 2107067"/>
                <a:gd name="connsiteY12" fmla="*/ 233668 h 2304066"/>
                <a:gd name="connsiteX13" fmla="*/ 698465 w 2107067"/>
                <a:gd name="connsiteY13" fmla="*/ 309333 h 2304066"/>
                <a:gd name="connsiteX14" fmla="*/ 714785 w 2107067"/>
                <a:gd name="connsiteY14" fmla="*/ 402060 h 2304066"/>
                <a:gd name="connsiteX15" fmla="*/ 691047 w 2107067"/>
                <a:gd name="connsiteY15" fmla="*/ 518525 h 2304066"/>
                <a:gd name="connsiteX16" fmla="*/ 622058 w 2107067"/>
                <a:gd name="connsiteY16" fmla="*/ 608285 h 2304066"/>
                <a:gd name="connsiteX17" fmla="*/ 510044 w 2107067"/>
                <a:gd name="connsiteY17" fmla="*/ 665404 h 2304066"/>
                <a:gd name="connsiteX18" fmla="*/ 447542 w 2107067"/>
                <a:gd name="connsiteY18" fmla="*/ 678520 h 2304066"/>
                <a:gd name="connsiteX19" fmla="*/ 23160 w 2107067"/>
                <a:gd name="connsiteY19" fmla="*/ 310383 h 2304066"/>
                <a:gd name="connsiteX20" fmla="*/ 33799 w 2107067"/>
                <a:gd name="connsiteY20" fmla="*/ 313042 h 2304066"/>
                <a:gd name="connsiteX21" fmla="*/ 89435 w 2107067"/>
                <a:gd name="connsiteY21" fmla="*/ 289304 h 2304066"/>
                <a:gd name="connsiteX22" fmla="*/ 181420 w 2107067"/>
                <a:gd name="connsiteY22" fmla="*/ 238119 h 2304066"/>
                <a:gd name="connsiteX23" fmla="*/ 303819 w 2107067"/>
                <a:gd name="connsiteY23" fmla="*/ 187675 h 2304066"/>
                <a:gd name="connsiteX24" fmla="*/ 449215 w 2107067"/>
                <a:gd name="connsiteY24" fmla="*/ 164679 h 2304066"/>
                <a:gd name="connsiteX25" fmla="*/ 1007444 w 2107067"/>
                <a:gd name="connsiteY25" fmla="*/ 0 h 2304066"/>
                <a:gd name="connsiteX26" fmla="*/ 2107067 w 2107067"/>
                <a:gd name="connsiteY26" fmla="*/ 953887 h 2304066"/>
                <a:gd name="connsiteX27" fmla="*/ 2107067 w 2107067"/>
                <a:gd name="connsiteY27" fmla="*/ 2304066 h 2304066"/>
                <a:gd name="connsiteX28" fmla="*/ 665098 w 2107067"/>
                <a:gd name="connsiteY28" fmla="*/ 2304066 h 2304066"/>
                <a:gd name="connsiteX29" fmla="*/ 0 w 2107067"/>
                <a:gd name="connsiteY29" fmla="*/ 1727116 h 2304066"/>
                <a:gd name="connsiteX30" fmla="*/ 5610 w 2107067"/>
                <a:gd name="connsiteY30" fmla="*/ 1731022 h 2304066"/>
                <a:gd name="connsiteX31" fmla="*/ 41217 w 2107067"/>
                <a:gd name="connsiteY31" fmla="*/ 1750680 h 2304066"/>
                <a:gd name="connsiteX32" fmla="*/ 150264 w 2107067"/>
                <a:gd name="connsiteY32" fmla="*/ 1793705 h 2304066"/>
                <a:gd name="connsiteX33" fmla="*/ 302336 w 2107067"/>
                <a:gd name="connsiteY33" fmla="*/ 1828571 h 2304066"/>
                <a:gd name="connsiteX34" fmla="*/ 486306 w 2107067"/>
                <a:gd name="connsiteY34" fmla="*/ 1842665 h 2304066"/>
                <a:gd name="connsiteX35" fmla="*/ 784516 w 2107067"/>
                <a:gd name="connsiteY35" fmla="*/ 1803349 h 2304066"/>
                <a:gd name="connsiteX36" fmla="*/ 1018929 w 2107067"/>
                <a:gd name="connsiteY36" fmla="*/ 1688368 h 2304066"/>
                <a:gd name="connsiteX37" fmla="*/ 1171743 w 2107067"/>
                <a:gd name="connsiteY37" fmla="*/ 1501430 h 2304066"/>
                <a:gd name="connsiteX38" fmla="*/ 1226637 w 2107067"/>
                <a:gd name="connsiteY38" fmla="*/ 1246246 h 2304066"/>
                <a:gd name="connsiteX39" fmla="*/ 1196965 w 2107067"/>
                <a:gd name="connsiteY39" fmla="*/ 1085272 h 2304066"/>
                <a:gd name="connsiteX40" fmla="*/ 1111656 w 2107067"/>
                <a:gd name="connsiteY40" fmla="*/ 951003 h 2304066"/>
                <a:gd name="connsiteX41" fmla="*/ 975904 w 2107067"/>
                <a:gd name="connsiteY41" fmla="*/ 852342 h 2304066"/>
                <a:gd name="connsiteX42" fmla="*/ 794901 w 2107067"/>
                <a:gd name="connsiteY42" fmla="*/ 801157 h 2304066"/>
                <a:gd name="connsiteX43" fmla="*/ 794901 w 2107067"/>
                <a:gd name="connsiteY43" fmla="*/ 796706 h 2304066"/>
                <a:gd name="connsiteX44" fmla="*/ 944006 w 2107067"/>
                <a:gd name="connsiteY44" fmla="*/ 734393 h 2304066"/>
                <a:gd name="connsiteX45" fmla="*/ 1051569 w 2107067"/>
                <a:gd name="connsiteY45" fmla="*/ 633507 h 2304066"/>
                <a:gd name="connsiteX46" fmla="*/ 1116849 w 2107067"/>
                <a:gd name="connsiteY46" fmla="*/ 498496 h 2304066"/>
                <a:gd name="connsiteX47" fmla="*/ 1139103 w 2107067"/>
                <a:gd name="connsiteY47" fmla="*/ 335297 h 2304066"/>
                <a:gd name="connsiteX48" fmla="*/ 1101271 w 2107067"/>
                <a:gd name="connsiteY48" fmla="*/ 132781 h 2304066"/>
                <a:gd name="connsiteX49" fmla="*/ 1054536 w 2107067"/>
                <a:gd name="connsiteY49" fmla="*/ 50069 h 230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107067" h="2304066">
                  <a:moveTo>
                    <a:pt x="163419" y="966904"/>
                  </a:moveTo>
                  <a:lnTo>
                    <a:pt x="194031" y="971774"/>
                  </a:lnTo>
                  <a:lnTo>
                    <a:pt x="360197" y="971774"/>
                  </a:lnTo>
                  <a:cubicBezTo>
                    <a:pt x="430423" y="971774"/>
                    <a:pt x="491499" y="978698"/>
                    <a:pt x="543426" y="992545"/>
                  </a:cubicBezTo>
                  <a:cubicBezTo>
                    <a:pt x="595353" y="1006392"/>
                    <a:pt x="638378" y="1025927"/>
                    <a:pt x="672502" y="1051148"/>
                  </a:cubicBezTo>
                  <a:cubicBezTo>
                    <a:pt x="706625" y="1076370"/>
                    <a:pt x="732341" y="1106784"/>
                    <a:pt x="749650" y="1142392"/>
                  </a:cubicBezTo>
                  <a:cubicBezTo>
                    <a:pt x="766959" y="1177999"/>
                    <a:pt x="775614" y="1218057"/>
                    <a:pt x="775614" y="1262566"/>
                  </a:cubicBezTo>
                  <a:cubicBezTo>
                    <a:pt x="775614" y="1303118"/>
                    <a:pt x="768443" y="1339962"/>
                    <a:pt x="754101" y="1373096"/>
                  </a:cubicBezTo>
                  <a:cubicBezTo>
                    <a:pt x="746930" y="1389664"/>
                    <a:pt x="737905" y="1404995"/>
                    <a:pt x="727025" y="1419089"/>
                  </a:cubicBezTo>
                  <a:lnTo>
                    <a:pt x="707462" y="1438843"/>
                  </a:lnTo>
                  <a:close/>
                  <a:moveTo>
                    <a:pt x="449215" y="164679"/>
                  </a:moveTo>
                  <a:cubicBezTo>
                    <a:pt x="494713" y="164679"/>
                    <a:pt x="534277" y="170861"/>
                    <a:pt x="567906" y="183225"/>
                  </a:cubicBezTo>
                  <a:cubicBezTo>
                    <a:pt x="601535" y="195588"/>
                    <a:pt x="628982" y="212403"/>
                    <a:pt x="650247" y="233668"/>
                  </a:cubicBezTo>
                  <a:cubicBezTo>
                    <a:pt x="671512" y="254933"/>
                    <a:pt x="687585" y="280155"/>
                    <a:pt x="698465" y="309333"/>
                  </a:cubicBezTo>
                  <a:cubicBezTo>
                    <a:pt x="709345" y="338511"/>
                    <a:pt x="714785" y="369420"/>
                    <a:pt x="714785" y="402060"/>
                  </a:cubicBezTo>
                  <a:cubicBezTo>
                    <a:pt x="714785" y="444591"/>
                    <a:pt x="706872" y="483412"/>
                    <a:pt x="691047" y="518525"/>
                  </a:cubicBezTo>
                  <a:cubicBezTo>
                    <a:pt x="675222" y="553638"/>
                    <a:pt x="652225" y="583557"/>
                    <a:pt x="622058" y="608285"/>
                  </a:cubicBezTo>
                  <a:cubicBezTo>
                    <a:pt x="591891" y="633012"/>
                    <a:pt x="554553" y="652052"/>
                    <a:pt x="510044" y="665404"/>
                  </a:cubicBezTo>
                  <a:lnTo>
                    <a:pt x="447542" y="678520"/>
                  </a:lnTo>
                  <a:lnTo>
                    <a:pt x="23160" y="310383"/>
                  </a:lnTo>
                  <a:lnTo>
                    <a:pt x="33799" y="313042"/>
                  </a:lnTo>
                  <a:cubicBezTo>
                    <a:pt x="45668" y="313042"/>
                    <a:pt x="64213" y="305130"/>
                    <a:pt x="89435" y="289304"/>
                  </a:cubicBezTo>
                  <a:cubicBezTo>
                    <a:pt x="114657" y="273479"/>
                    <a:pt x="145318" y="256417"/>
                    <a:pt x="181420" y="238119"/>
                  </a:cubicBezTo>
                  <a:cubicBezTo>
                    <a:pt x="217522" y="219821"/>
                    <a:pt x="258321" y="203006"/>
                    <a:pt x="303819" y="187675"/>
                  </a:cubicBezTo>
                  <a:cubicBezTo>
                    <a:pt x="349317" y="172345"/>
                    <a:pt x="397783" y="164679"/>
                    <a:pt x="449215" y="164679"/>
                  </a:cubicBezTo>
                  <a:close/>
                  <a:moveTo>
                    <a:pt x="1007444" y="0"/>
                  </a:moveTo>
                  <a:lnTo>
                    <a:pt x="2107067" y="953887"/>
                  </a:lnTo>
                  <a:lnTo>
                    <a:pt x="2107067" y="2304066"/>
                  </a:lnTo>
                  <a:lnTo>
                    <a:pt x="665098" y="2304066"/>
                  </a:lnTo>
                  <a:lnTo>
                    <a:pt x="0" y="1727116"/>
                  </a:lnTo>
                  <a:lnTo>
                    <a:pt x="5610" y="1731022"/>
                  </a:lnTo>
                  <a:cubicBezTo>
                    <a:pt x="15006" y="1736709"/>
                    <a:pt x="26875" y="1743262"/>
                    <a:pt x="41217" y="1750680"/>
                  </a:cubicBezTo>
                  <a:cubicBezTo>
                    <a:pt x="69900" y="1765516"/>
                    <a:pt x="106249" y="1779858"/>
                    <a:pt x="150264" y="1793705"/>
                  </a:cubicBezTo>
                  <a:cubicBezTo>
                    <a:pt x="194278" y="1807553"/>
                    <a:pt x="244969" y="1819174"/>
                    <a:pt x="302336" y="1828571"/>
                  </a:cubicBezTo>
                  <a:cubicBezTo>
                    <a:pt x="359703" y="1837967"/>
                    <a:pt x="421026" y="1842665"/>
                    <a:pt x="486306" y="1842665"/>
                  </a:cubicBezTo>
                  <a:cubicBezTo>
                    <a:pt x="594116" y="1842665"/>
                    <a:pt x="693520" y="1829560"/>
                    <a:pt x="784516" y="1803349"/>
                  </a:cubicBezTo>
                  <a:cubicBezTo>
                    <a:pt x="875512" y="1777138"/>
                    <a:pt x="953650" y="1738811"/>
                    <a:pt x="1018929" y="1688368"/>
                  </a:cubicBezTo>
                  <a:cubicBezTo>
                    <a:pt x="1084209" y="1637924"/>
                    <a:pt x="1135147" y="1575612"/>
                    <a:pt x="1171743" y="1501430"/>
                  </a:cubicBezTo>
                  <a:cubicBezTo>
                    <a:pt x="1208339" y="1427249"/>
                    <a:pt x="1226637" y="1342187"/>
                    <a:pt x="1226637" y="1246246"/>
                  </a:cubicBezTo>
                  <a:cubicBezTo>
                    <a:pt x="1226637" y="1188879"/>
                    <a:pt x="1216747" y="1135221"/>
                    <a:pt x="1196965" y="1085272"/>
                  </a:cubicBezTo>
                  <a:cubicBezTo>
                    <a:pt x="1177183" y="1035323"/>
                    <a:pt x="1148747" y="990567"/>
                    <a:pt x="1111656" y="951003"/>
                  </a:cubicBezTo>
                  <a:cubicBezTo>
                    <a:pt x="1074565" y="911440"/>
                    <a:pt x="1029315" y="878553"/>
                    <a:pt x="975904" y="852342"/>
                  </a:cubicBezTo>
                  <a:cubicBezTo>
                    <a:pt x="922493" y="826131"/>
                    <a:pt x="862159" y="809069"/>
                    <a:pt x="794901" y="801157"/>
                  </a:cubicBezTo>
                  <a:lnTo>
                    <a:pt x="794901" y="796706"/>
                  </a:lnTo>
                  <a:cubicBezTo>
                    <a:pt x="851279" y="782859"/>
                    <a:pt x="900981" y="762088"/>
                    <a:pt x="944006" y="734393"/>
                  </a:cubicBezTo>
                  <a:cubicBezTo>
                    <a:pt x="987031" y="706699"/>
                    <a:pt x="1022886" y="673070"/>
                    <a:pt x="1051569" y="633507"/>
                  </a:cubicBezTo>
                  <a:cubicBezTo>
                    <a:pt x="1080253" y="593943"/>
                    <a:pt x="1102013" y="548939"/>
                    <a:pt x="1116849" y="498496"/>
                  </a:cubicBezTo>
                  <a:cubicBezTo>
                    <a:pt x="1131685" y="448053"/>
                    <a:pt x="1139103" y="393653"/>
                    <a:pt x="1139103" y="335297"/>
                  </a:cubicBezTo>
                  <a:cubicBezTo>
                    <a:pt x="1139103" y="260126"/>
                    <a:pt x="1126492" y="192621"/>
                    <a:pt x="1101271" y="132781"/>
                  </a:cubicBezTo>
                  <a:cubicBezTo>
                    <a:pt x="1088660" y="102861"/>
                    <a:pt x="1073082" y="75290"/>
                    <a:pt x="1054536" y="50069"/>
                  </a:cubicBez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dirty="0">
                <a:latin typeface="Arial" panose="020B0604020202020204" pitchFamily="34" charset="0"/>
                <a:cs typeface="Arial" panose="020B0604020202020204" pitchFamily="34" charset="0"/>
              </a:endParaRPr>
            </a:p>
          </p:txBody>
        </p:sp>
        <p:sp>
          <p:nvSpPr>
            <p:cNvPr id="65" name="Freeform 48">
              <a:extLst>
                <a:ext uri="{FF2B5EF4-FFF2-40B4-BE49-F238E27FC236}">
                  <a16:creationId xmlns:a16="http://schemas.microsoft.com/office/drawing/2014/main" id="{12868960-0932-4978-9C79-86DDC27841F5}"/>
                </a:ext>
              </a:extLst>
            </p:cNvPr>
            <p:cNvSpPr/>
            <p:nvPr/>
          </p:nvSpPr>
          <p:spPr>
            <a:xfrm>
              <a:off x="2244624" y="4244929"/>
              <a:ext cx="1283340" cy="1988065"/>
            </a:xfrm>
            <a:custGeom>
              <a:avLst/>
              <a:gdLst/>
              <a:ahLst/>
              <a:cxnLst/>
              <a:rect l="l" t="t" r="r" b="b"/>
              <a:pathLst>
                <a:path w="1283340" h="1988065">
                  <a:moveTo>
                    <a:pt x="618674" y="0"/>
                  </a:moveTo>
                  <a:cubicBezTo>
                    <a:pt x="711648" y="0"/>
                    <a:pt x="793990" y="10880"/>
                    <a:pt x="865699" y="32640"/>
                  </a:cubicBezTo>
                  <a:cubicBezTo>
                    <a:pt x="937407" y="54400"/>
                    <a:pt x="997742" y="85804"/>
                    <a:pt x="1046701" y="126851"/>
                  </a:cubicBezTo>
                  <a:cubicBezTo>
                    <a:pt x="1095661" y="167898"/>
                    <a:pt x="1132752" y="218341"/>
                    <a:pt x="1157974" y="278181"/>
                  </a:cubicBezTo>
                  <a:cubicBezTo>
                    <a:pt x="1183195" y="338021"/>
                    <a:pt x="1195806" y="405526"/>
                    <a:pt x="1195806" y="480697"/>
                  </a:cubicBezTo>
                  <a:cubicBezTo>
                    <a:pt x="1195806" y="539053"/>
                    <a:pt x="1188388" y="593453"/>
                    <a:pt x="1173552" y="643896"/>
                  </a:cubicBezTo>
                  <a:cubicBezTo>
                    <a:pt x="1158716" y="694339"/>
                    <a:pt x="1136956" y="739343"/>
                    <a:pt x="1108272" y="778907"/>
                  </a:cubicBezTo>
                  <a:cubicBezTo>
                    <a:pt x="1079589" y="818470"/>
                    <a:pt x="1043734" y="852099"/>
                    <a:pt x="1000709" y="879793"/>
                  </a:cubicBezTo>
                  <a:cubicBezTo>
                    <a:pt x="957684" y="907488"/>
                    <a:pt x="907982" y="928259"/>
                    <a:pt x="851604" y="942106"/>
                  </a:cubicBezTo>
                  <a:lnTo>
                    <a:pt x="851604" y="946557"/>
                  </a:lnTo>
                  <a:cubicBezTo>
                    <a:pt x="918862" y="954469"/>
                    <a:pt x="979196" y="971531"/>
                    <a:pt x="1032607" y="997742"/>
                  </a:cubicBezTo>
                  <a:cubicBezTo>
                    <a:pt x="1086018" y="1023953"/>
                    <a:pt x="1131268" y="1056840"/>
                    <a:pt x="1168359" y="1096403"/>
                  </a:cubicBezTo>
                  <a:cubicBezTo>
                    <a:pt x="1205450" y="1135967"/>
                    <a:pt x="1233886" y="1180723"/>
                    <a:pt x="1253668" y="1230672"/>
                  </a:cubicBezTo>
                  <a:cubicBezTo>
                    <a:pt x="1273450" y="1280621"/>
                    <a:pt x="1283340" y="1334279"/>
                    <a:pt x="1283340" y="1391646"/>
                  </a:cubicBezTo>
                  <a:cubicBezTo>
                    <a:pt x="1283340" y="1487587"/>
                    <a:pt x="1265042" y="1572649"/>
                    <a:pt x="1228446" y="1646830"/>
                  </a:cubicBezTo>
                  <a:cubicBezTo>
                    <a:pt x="1191850" y="1721012"/>
                    <a:pt x="1140912" y="1783324"/>
                    <a:pt x="1075632" y="1833768"/>
                  </a:cubicBezTo>
                  <a:cubicBezTo>
                    <a:pt x="1010353" y="1884211"/>
                    <a:pt x="932215" y="1922538"/>
                    <a:pt x="841219" y="1948749"/>
                  </a:cubicBezTo>
                  <a:cubicBezTo>
                    <a:pt x="750223" y="1974960"/>
                    <a:pt x="650819" y="1988065"/>
                    <a:pt x="543009" y="1988065"/>
                  </a:cubicBezTo>
                  <a:cubicBezTo>
                    <a:pt x="477729" y="1988065"/>
                    <a:pt x="416406" y="1983367"/>
                    <a:pt x="359039" y="1973971"/>
                  </a:cubicBezTo>
                  <a:cubicBezTo>
                    <a:pt x="301672" y="1964574"/>
                    <a:pt x="250981" y="1952953"/>
                    <a:pt x="206967" y="1939105"/>
                  </a:cubicBezTo>
                  <a:cubicBezTo>
                    <a:pt x="162952" y="1925258"/>
                    <a:pt x="126603" y="1910916"/>
                    <a:pt x="97920" y="1896080"/>
                  </a:cubicBezTo>
                  <a:cubicBezTo>
                    <a:pt x="69236" y="1881244"/>
                    <a:pt x="50444" y="1869869"/>
                    <a:pt x="41542" y="1861957"/>
                  </a:cubicBezTo>
                  <a:cubicBezTo>
                    <a:pt x="32640" y="1854044"/>
                    <a:pt x="25964" y="1845142"/>
                    <a:pt x="21513" y="1835251"/>
                  </a:cubicBezTo>
                  <a:cubicBezTo>
                    <a:pt x="17062" y="1825360"/>
                    <a:pt x="13106" y="1813739"/>
                    <a:pt x="9644" y="1800386"/>
                  </a:cubicBezTo>
                  <a:cubicBezTo>
                    <a:pt x="6182" y="1787033"/>
                    <a:pt x="3709" y="1770219"/>
                    <a:pt x="2226" y="1749943"/>
                  </a:cubicBezTo>
                  <a:cubicBezTo>
                    <a:pt x="742" y="1729666"/>
                    <a:pt x="0" y="1705186"/>
                    <a:pt x="0" y="1676503"/>
                  </a:cubicBezTo>
                  <a:cubicBezTo>
                    <a:pt x="0" y="1629027"/>
                    <a:pt x="3957" y="1596139"/>
                    <a:pt x="11869" y="1577841"/>
                  </a:cubicBezTo>
                  <a:cubicBezTo>
                    <a:pt x="19782" y="1559543"/>
                    <a:pt x="31651" y="1550394"/>
                    <a:pt x="47476" y="1550394"/>
                  </a:cubicBezTo>
                  <a:cubicBezTo>
                    <a:pt x="57367" y="1550394"/>
                    <a:pt x="74429" y="1557071"/>
                    <a:pt x="98662" y="1570423"/>
                  </a:cubicBezTo>
                  <a:cubicBezTo>
                    <a:pt x="122894" y="1583776"/>
                    <a:pt x="153803" y="1598118"/>
                    <a:pt x="191389" y="1613449"/>
                  </a:cubicBezTo>
                  <a:cubicBezTo>
                    <a:pt x="228974" y="1628779"/>
                    <a:pt x="272988" y="1643121"/>
                    <a:pt x="323432" y="1656474"/>
                  </a:cubicBezTo>
                  <a:cubicBezTo>
                    <a:pt x="373875" y="1669827"/>
                    <a:pt x="431242" y="1676503"/>
                    <a:pt x="495533" y="1676503"/>
                  </a:cubicBezTo>
                  <a:cubicBezTo>
                    <a:pt x="549933" y="1676503"/>
                    <a:pt x="597903" y="1670074"/>
                    <a:pt x="639445" y="1657216"/>
                  </a:cubicBezTo>
                  <a:cubicBezTo>
                    <a:pt x="680987" y="1644357"/>
                    <a:pt x="716346" y="1626307"/>
                    <a:pt x="745525" y="1603063"/>
                  </a:cubicBezTo>
                  <a:cubicBezTo>
                    <a:pt x="774703" y="1579820"/>
                    <a:pt x="796462" y="1551631"/>
                    <a:pt x="810804" y="1518496"/>
                  </a:cubicBezTo>
                  <a:cubicBezTo>
                    <a:pt x="825146" y="1485362"/>
                    <a:pt x="832317" y="1448518"/>
                    <a:pt x="832317" y="1407966"/>
                  </a:cubicBezTo>
                  <a:cubicBezTo>
                    <a:pt x="832317" y="1363457"/>
                    <a:pt x="823662" y="1323399"/>
                    <a:pt x="806353" y="1287792"/>
                  </a:cubicBezTo>
                  <a:cubicBezTo>
                    <a:pt x="789044" y="1252184"/>
                    <a:pt x="763328" y="1221770"/>
                    <a:pt x="729205" y="1196548"/>
                  </a:cubicBezTo>
                  <a:cubicBezTo>
                    <a:pt x="695081" y="1171327"/>
                    <a:pt x="652056" y="1151792"/>
                    <a:pt x="600129" y="1137945"/>
                  </a:cubicBezTo>
                  <a:cubicBezTo>
                    <a:pt x="548202" y="1124098"/>
                    <a:pt x="487126" y="1117174"/>
                    <a:pt x="416900" y="1117174"/>
                  </a:cubicBezTo>
                  <a:lnTo>
                    <a:pt x="250734" y="1117174"/>
                  </a:lnTo>
                  <a:cubicBezTo>
                    <a:pt x="237876" y="1117174"/>
                    <a:pt x="226996" y="1115443"/>
                    <a:pt x="218094" y="1111981"/>
                  </a:cubicBezTo>
                  <a:cubicBezTo>
                    <a:pt x="209192" y="1108520"/>
                    <a:pt x="201774" y="1101349"/>
                    <a:pt x="195839" y="1090469"/>
                  </a:cubicBezTo>
                  <a:cubicBezTo>
                    <a:pt x="189905" y="1079589"/>
                    <a:pt x="185701" y="1064505"/>
                    <a:pt x="183229" y="1045218"/>
                  </a:cubicBezTo>
                  <a:cubicBezTo>
                    <a:pt x="180756" y="1025931"/>
                    <a:pt x="179519" y="1000957"/>
                    <a:pt x="179519" y="970295"/>
                  </a:cubicBezTo>
                  <a:cubicBezTo>
                    <a:pt x="179519" y="941611"/>
                    <a:pt x="180756" y="918120"/>
                    <a:pt x="183229" y="899822"/>
                  </a:cubicBezTo>
                  <a:cubicBezTo>
                    <a:pt x="185701" y="881524"/>
                    <a:pt x="189658" y="867430"/>
                    <a:pt x="195098" y="857539"/>
                  </a:cubicBezTo>
                  <a:cubicBezTo>
                    <a:pt x="200538" y="847648"/>
                    <a:pt x="207461" y="840724"/>
                    <a:pt x="215868" y="836768"/>
                  </a:cubicBezTo>
                  <a:cubicBezTo>
                    <a:pt x="224276" y="832812"/>
                    <a:pt x="234414" y="830833"/>
                    <a:pt x="246283" y="830833"/>
                  </a:cubicBezTo>
                  <a:lnTo>
                    <a:pt x="413933" y="830833"/>
                  </a:lnTo>
                  <a:cubicBezTo>
                    <a:pt x="471300" y="830833"/>
                    <a:pt x="522238" y="824157"/>
                    <a:pt x="566747" y="810804"/>
                  </a:cubicBezTo>
                  <a:cubicBezTo>
                    <a:pt x="611256" y="797452"/>
                    <a:pt x="648594" y="778412"/>
                    <a:pt x="678761" y="753685"/>
                  </a:cubicBezTo>
                  <a:cubicBezTo>
                    <a:pt x="708928" y="728957"/>
                    <a:pt x="731925" y="699038"/>
                    <a:pt x="747750" y="663925"/>
                  </a:cubicBezTo>
                  <a:cubicBezTo>
                    <a:pt x="763575" y="628812"/>
                    <a:pt x="771488" y="589991"/>
                    <a:pt x="771488" y="547460"/>
                  </a:cubicBezTo>
                  <a:cubicBezTo>
                    <a:pt x="771488" y="514820"/>
                    <a:pt x="766048" y="483911"/>
                    <a:pt x="755168" y="454733"/>
                  </a:cubicBezTo>
                  <a:cubicBezTo>
                    <a:pt x="744288" y="425555"/>
                    <a:pt x="728215" y="400333"/>
                    <a:pt x="706950" y="379068"/>
                  </a:cubicBezTo>
                  <a:cubicBezTo>
                    <a:pt x="685685" y="357803"/>
                    <a:pt x="658238" y="340988"/>
                    <a:pt x="624609" y="328625"/>
                  </a:cubicBezTo>
                  <a:cubicBezTo>
                    <a:pt x="590980" y="316261"/>
                    <a:pt x="551416" y="310079"/>
                    <a:pt x="505918" y="310079"/>
                  </a:cubicBezTo>
                  <a:cubicBezTo>
                    <a:pt x="454486" y="310079"/>
                    <a:pt x="406020" y="317745"/>
                    <a:pt x="360522" y="333075"/>
                  </a:cubicBezTo>
                  <a:cubicBezTo>
                    <a:pt x="315024" y="348406"/>
                    <a:pt x="274225" y="365221"/>
                    <a:pt x="238123" y="383519"/>
                  </a:cubicBezTo>
                  <a:cubicBezTo>
                    <a:pt x="202021" y="401817"/>
                    <a:pt x="171360" y="418879"/>
                    <a:pt x="146138" y="434704"/>
                  </a:cubicBezTo>
                  <a:cubicBezTo>
                    <a:pt x="120916" y="450530"/>
                    <a:pt x="102371" y="458442"/>
                    <a:pt x="90502" y="458442"/>
                  </a:cubicBezTo>
                  <a:cubicBezTo>
                    <a:pt x="82589" y="458442"/>
                    <a:pt x="75665" y="456711"/>
                    <a:pt x="69731" y="453250"/>
                  </a:cubicBezTo>
                  <a:cubicBezTo>
                    <a:pt x="63796" y="449788"/>
                    <a:pt x="58851" y="443111"/>
                    <a:pt x="54895" y="433221"/>
                  </a:cubicBezTo>
                  <a:cubicBezTo>
                    <a:pt x="50938" y="423330"/>
                    <a:pt x="47971" y="408988"/>
                    <a:pt x="45993" y="390195"/>
                  </a:cubicBezTo>
                  <a:cubicBezTo>
                    <a:pt x="44015" y="371403"/>
                    <a:pt x="43026" y="347170"/>
                    <a:pt x="43026" y="317497"/>
                  </a:cubicBezTo>
                  <a:cubicBezTo>
                    <a:pt x="43026" y="292770"/>
                    <a:pt x="43520" y="272247"/>
                    <a:pt x="44509" y="255927"/>
                  </a:cubicBezTo>
                  <a:cubicBezTo>
                    <a:pt x="45498" y="239607"/>
                    <a:pt x="47476" y="226007"/>
                    <a:pt x="50444" y="215127"/>
                  </a:cubicBezTo>
                  <a:cubicBezTo>
                    <a:pt x="53411" y="204247"/>
                    <a:pt x="57120" y="194851"/>
                    <a:pt x="61571" y="186938"/>
                  </a:cubicBezTo>
                  <a:cubicBezTo>
                    <a:pt x="66022" y="179025"/>
                    <a:pt x="73193" y="170371"/>
                    <a:pt x="83084" y="160974"/>
                  </a:cubicBezTo>
                  <a:cubicBezTo>
                    <a:pt x="92974" y="151578"/>
                    <a:pt x="113251" y="137483"/>
                    <a:pt x="143912" y="118691"/>
                  </a:cubicBezTo>
                  <a:cubicBezTo>
                    <a:pt x="174574" y="99898"/>
                    <a:pt x="213148" y="81600"/>
                    <a:pt x="259636" y="63797"/>
                  </a:cubicBezTo>
                  <a:cubicBezTo>
                    <a:pt x="306123" y="45993"/>
                    <a:pt x="359781" y="30910"/>
                    <a:pt x="420609" y="18546"/>
                  </a:cubicBezTo>
                  <a:cubicBezTo>
                    <a:pt x="481438" y="6182"/>
                    <a:pt x="547460" y="0"/>
                    <a:pt x="6186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984257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TextBox 129">
            <a:extLst>
              <a:ext uri="{FF2B5EF4-FFF2-40B4-BE49-F238E27FC236}">
                <a16:creationId xmlns:a16="http://schemas.microsoft.com/office/drawing/2014/main" id="{F4396E5F-A66C-43AE-8104-712A92FE122D}"/>
              </a:ext>
            </a:extLst>
          </p:cNvPr>
          <p:cNvSpPr txBox="1"/>
          <p:nvPr/>
        </p:nvSpPr>
        <p:spPr>
          <a:xfrm>
            <a:off x="8396398" y="1353439"/>
            <a:ext cx="2952514" cy="307777"/>
          </a:xfrm>
          <a:prstGeom prst="rect">
            <a:avLst/>
          </a:prstGeom>
          <a:solidFill>
            <a:schemeClr val="tx2">
              <a:lumMod val="60000"/>
              <a:lumOff val="40000"/>
            </a:schemeClr>
          </a:solidFill>
        </p:spPr>
        <p:txBody>
          <a:bodyPr wrap="square" rtlCol="0">
            <a:spAutoFit/>
          </a:bodyPr>
          <a:lstStyle/>
          <a:p>
            <a:pPr algn="ctr"/>
            <a:r>
              <a:rPr lang="en-US" sz="1400" b="1" dirty="0">
                <a:latin typeface="Arial" panose="020B0604020202020204" pitchFamily="34" charset="0"/>
                <a:cs typeface="Arial" panose="020B0604020202020204" pitchFamily="34" charset="0"/>
              </a:rPr>
              <a:t>Business Enablement</a:t>
            </a:r>
          </a:p>
        </p:txBody>
      </p:sp>
      <p:sp>
        <p:nvSpPr>
          <p:cNvPr id="195" name="TextBox 194">
            <a:extLst>
              <a:ext uri="{FF2B5EF4-FFF2-40B4-BE49-F238E27FC236}">
                <a16:creationId xmlns:a16="http://schemas.microsoft.com/office/drawing/2014/main" id="{52F919D7-74FC-483F-8964-3BC2179A2D7A}"/>
              </a:ext>
            </a:extLst>
          </p:cNvPr>
          <p:cNvSpPr txBox="1"/>
          <p:nvPr/>
        </p:nvSpPr>
        <p:spPr>
          <a:xfrm>
            <a:off x="206274" y="790269"/>
            <a:ext cx="113498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Workload-centric architectures help democratize insights beyond data warehousing</a:t>
            </a:r>
          </a:p>
        </p:txBody>
      </p:sp>
      <p:sp>
        <p:nvSpPr>
          <p:cNvPr id="196" name="TextBox 195">
            <a:extLst>
              <a:ext uri="{FF2B5EF4-FFF2-40B4-BE49-F238E27FC236}">
                <a16:creationId xmlns:a16="http://schemas.microsoft.com/office/drawing/2014/main" id="{80724766-1FBA-4D32-94DA-6E3E08EED809}"/>
              </a:ext>
            </a:extLst>
          </p:cNvPr>
          <p:cNvSpPr txBox="1"/>
          <p:nvPr/>
        </p:nvSpPr>
        <p:spPr>
          <a:xfrm>
            <a:off x="850506" y="1374611"/>
            <a:ext cx="2319683" cy="307777"/>
          </a:xfrm>
          <a:prstGeom prst="rect">
            <a:avLst/>
          </a:prstGeom>
          <a:solidFill>
            <a:schemeClr val="tx2">
              <a:lumMod val="40000"/>
              <a:lumOff val="60000"/>
            </a:schemeClr>
          </a:solidFill>
        </p:spPr>
        <p:txBody>
          <a:bodyPr wrap="square" rtlCol="0">
            <a:spAutoFit/>
          </a:bodyPr>
          <a:lstStyle/>
          <a:p>
            <a:pPr algn="ctr"/>
            <a:r>
              <a:rPr lang="en-US" sz="1400" b="1" dirty="0">
                <a:latin typeface="Arial" panose="020B0604020202020204" pitchFamily="34" charset="0"/>
                <a:cs typeface="Arial" panose="020B0604020202020204" pitchFamily="34" charset="0"/>
              </a:rPr>
              <a:t>Data Ingestion</a:t>
            </a:r>
          </a:p>
        </p:txBody>
      </p:sp>
      <p:sp>
        <p:nvSpPr>
          <p:cNvPr id="197" name="TextBox 196">
            <a:extLst>
              <a:ext uri="{FF2B5EF4-FFF2-40B4-BE49-F238E27FC236}">
                <a16:creationId xmlns:a16="http://schemas.microsoft.com/office/drawing/2014/main" id="{7C7BA6BF-5DB8-4233-97A2-92F90A6ED511}"/>
              </a:ext>
            </a:extLst>
          </p:cNvPr>
          <p:cNvSpPr txBox="1"/>
          <p:nvPr/>
        </p:nvSpPr>
        <p:spPr>
          <a:xfrm>
            <a:off x="4761436" y="1399605"/>
            <a:ext cx="2319683" cy="307777"/>
          </a:xfrm>
          <a:prstGeom prst="rect">
            <a:avLst/>
          </a:prstGeom>
          <a:solidFill>
            <a:schemeClr val="bg1">
              <a:lumMod val="75000"/>
            </a:schemeClr>
          </a:solidFill>
        </p:spPr>
        <p:txBody>
          <a:bodyPr wrap="square" rtlCol="0">
            <a:spAutoFit/>
          </a:bodyPr>
          <a:lstStyle/>
          <a:p>
            <a:pPr algn="ctr"/>
            <a:r>
              <a:rPr lang="en-US" sz="1400" b="1" dirty="0">
                <a:latin typeface="Arial" panose="020B0604020202020204" pitchFamily="34" charset="0"/>
                <a:cs typeface="Arial" panose="020B0604020202020204" pitchFamily="34" charset="0"/>
              </a:rPr>
              <a:t>Compute Readiness </a:t>
            </a:r>
          </a:p>
        </p:txBody>
      </p:sp>
      <p:sp>
        <p:nvSpPr>
          <p:cNvPr id="46" name="Title 1">
            <a:extLst>
              <a:ext uri="{FF2B5EF4-FFF2-40B4-BE49-F238E27FC236}">
                <a16:creationId xmlns:a16="http://schemas.microsoft.com/office/drawing/2014/main" id="{710483AE-B708-4BA2-8507-29DA9BBD617C}"/>
              </a:ext>
            </a:extLst>
          </p:cNvPr>
          <p:cNvSpPr txBox="1">
            <a:spLocks/>
          </p:cNvSpPr>
          <p:nvPr/>
        </p:nvSpPr>
        <p:spPr>
          <a:xfrm>
            <a:off x="599655" y="58925"/>
            <a:ext cx="11196804" cy="40834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kern="1200">
                <a:solidFill>
                  <a:schemeClr val="bg1"/>
                </a:solidFill>
                <a:latin typeface="Arial" panose="020B0604020202020204" pitchFamily="34" charset="0"/>
                <a:ea typeface="+mj-ea"/>
                <a:cs typeface="Arial" panose="020B0604020202020204" pitchFamily="34" charset="0"/>
              </a:defRPr>
            </a:lvl1pPr>
          </a:lstStyle>
          <a:p>
            <a:r>
              <a:rPr lang="en-US" dirty="0">
                <a:solidFill>
                  <a:schemeClr val="lt1"/>
                </a:solidFill>
                <a:ea typeface="Arial"/>
                <a:sym typeface="Arial"/>
              </a:rPr>
              <a:t>ProSieben - </a:t>
            </a:r>
            <a:r>
              <a:rPr lang="en-IN" dirty="0"/>
              <a:t>LatentView Data Ecosystem Vision</a:t>
            </a:r>
          </a:p>
        </p:txBody>
      </p:sp>
      <p:sp>
        <p:nvSpPr>
          <p:cNvPr id="69" name="Rectangle 68">
            <a:extLst>
              <a:ext uri="{FF2B5EF4-FFF2-40B4-BE49-F238E27FC236}">
                <a16:creationId xmlns:a16="http://schemas.microsoft.com/office/drawing/2014/main" id="{762742DC-CFEA-4320-9F71-A2A431CC3751}"/>
              </a:ext>
            </a:extLst>
          </p:cNvPr>
          <p:cNvSpPr/>
          <p:nvPr/>
        </p:nvSpPr>
        <p:spPr>
          <a:xfrm>
            <a:off x="9547672" y="3079042"/>
            <a:ext cx="872355" cy="307777"/>
          </a:xfrm>
          <a:prstGeom prst="rect">
            <a:avLst/>
          </a:prstGeom>
        </p:spPr>
        <p:txBody>
          <a:bodyPr wrap="square">
            <a:spAutoFit/>
          </a:bodyPr>
          <a:lstStyle/>
          <a:p>
            <a:pPr algn="ctr"/>
            <a:r>
              <a:rPr lang="en-IN" sz="1400" b="1" dirty="0">
                <a:solidFill>
                  <a:srgbClr val="002060"/>
                </a:solidFill>
                <a:latin typeface="Segoe UI" panose="020B0502040204020203" pitchFamily="34" charset="0"/>
                <a:ea typeface="Segoe UI" panose="020B0502040204020203" pitchFamily="34" charset="0"/>
                <a:cs typeface="Segoe UI" panose="020B0502040204020203" pitchFamily="34" charset="0"/>
              </a:rPr>
              <a:t>Athena</a:t>
            </a:r>
            <a:endParaRPr lang="en-US" sz="14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pic>
        <p:nvPicPr>
          <p:cNvPr id="99" name="Picture 98">
            <a:extLst>
              <a:ext uri="{FF2B5EF4-FFF2-40B4-BE49-F238E27FC236}">
                <a16:creationId xmlns:a16="http://schemas.microsoft.com/office/drawing/2014/main" id="{CAAB792F-CA47-40D8-8E42-BBD1AF92AE99}"/>
              </a:ext>
            </a:extLst>
          </p:cNvPr>
          <p:cNvPicPr>
            <a:picLocks noChangeAspect="1"/>
          </p:cNvPicPr>
          <p:nvPr/>
        </p:nvPicPr>
        <p:blipFill>
          <a:blip r:embed="rId3"/>
          <a:stretch>
            <a:fillRect/>
          </a:stretch>
        </p:blipFill>
        <p:spPr>
          <a:xfrm>
            <a:off x="9711267" y="2475399"/>
            <a:ext cx="496002" cy="589003"/>
          </a:xfrm>
          <a:prstGeom prst="rect">
            <a:avLst/>
          </a:prstGeom>
        </p:spPr>
      </p:pic>
      <p:pic>
        <p:nvPicPr>
          <p:cNvPr id="115" name="Picture 114">
            <a:extLst>
              <a:ext uri="{FF2B5EF4-FFF2-40B4-BE49-F238E27FC236}">
                <a16:creationId xmlns:a16="http://schemas.microsoft.com/office/drawing/2014/main" id="{007B8ACD-C830-48E2-9FE5-C7B75BDDA497}"/>
              </a:ext>
            </a:extLst>
          </p:cNvPr>
          <p:cNvPicPr>
            <a:picLocks noChangeAspect="1"/>
          </p:cNvPicPr>
          <p:nvPr/>
        </p:nvPicPr>
        <p:blipFill>
          <a:blip r:embed="rId4"/>
          <a:stretch>
            <a:fillRect/>
          </a:stretch>
        </p:blipFill>
        <p:spPr>
          <a:xfrm>
            <a:off x="9721088" y="3750403"/>
            <a:ext cx="600075" cy="466725"/>
          </a:xfrm>
          <a:prstGeom prst="rect">
            <a:avLst/>
          </a:prstGeom>
        </p:spPr>
      </p:pic>
      <p:sp>
        <p:nvSpPr>
          <p:cNvPr id="116" name="Rectangle 115">
            <a:extLst>
              <a:ext uri="{FF2B5EF4-FFF2-40B4-BE49-F238E27FC236}">
                <a16:creationId xmlns:a16="http://schemas.microsoft.com/office/drawing/2014/main" id="{76DAFE7F-8CE2-449F-BB71-5140884C9E02}"/>
              </a:ext>
            </a:extLst>
          </p:cNvPr>
          <p:cNvSpPr/>
          <p:nvPr/>
        </p:nvSpPr>
        <p:spPr>
          <a:xfrm>
            <a:off x="9731369" y="4281808"/>
            <a:ext cx="569387" cy="307777"/>
          </a:xfrm>
          <a:prstGeom prst="rect">
            <a:avLst/>
          </a:prstGeom>
        </p:spPr>
        <p:txBody>
          <a:bodyPr wrap="none">
            <a:spAutoFit/>
          </a:bodyPr>
          <a:lstStyle/>
          <a:p>
            <a:pPr algn="ctr"/>
            <a:r>
              <a:rPr lang="en-IN" sz="1400" b="1" dirty="0">
                <a:solidFill>
                  <a:srgbClr val="002060"/>
                </a:solidFill>
                <a:latin typeface="Segoe UI" panose="020B0502040204020203" pitchFamily="34" charset="0"/>
                <a:ea typeface="Segoe UI" panose="020B0502040204020203" pitchFamily="34" charset="0"/>
                <a:cs typeface="Segoe UI" panose="020B0502040204020203" pitchFamily="34" charset="0"/>
              </a:rPr>
              <a:t>EMR</a:t>
            </a:r>
            <a:endParaRPr lang="en-US" sz="1400" b="1"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pic>
        <p:nvPicPr>
          <p:cNvPr id="117" name="Picture 116">
            <a:extLst>
              <a:ext uri="{FF2B5EF4-FFF2-40B4-BE49-F238E27FC236}">
                <a16:creationId xmlns:a16="http://schemas.microsoft.com/office/drawing/2014/main" id="{6C77E366-DFE3-499D-B20C-816DEF39E6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90439" y="4868896"/>
            <a:ext cx="548640" cy="603504"/>
          </a:xfrm>
          <a:prstGeom prst="rect">
            <a:avLst/>
          </a:prstGeom>
        </p:spPr>
      </p:pic>
      <p:sp>
        <p:nvSpPr>
          <p:cNvPr id="118" name="TextBox 117">
            <a:extLst>
              <a:ext uri="{FF2B5EF4-FFF2-40B4-BE49-F238E27FC236}">
                <a16:creationId xmlns:a16="http://schemas.microsoft.com/office/drawing/2014/main" id="{2C2FF1ED-8974-4364-B403-49E86FFC642C}"/>
              </a:ext>
            </a:extLst>
          </p:cNvPr>
          <p:cNvSpPr txBox="1"/>
          <p:nvPr/>
        </p:nvSpPr>
        <p:spPr>
          <a:xfrm>
            <a:off x="9557493" y="5516656"/>
            <a:ext cx="1020442" cy="155632"/>
          </a:xfrm>
          <a:prstGeom prst="rect">
            <a:avLst/>
          </a:prstGeom>
          <a:noFill/>
        </p:spPr>
        <p:txBody>
          <a:bodyPr wrap="square" lIns="0" tIns="0" rIns="0" bIns="0" rtlCol="0" anchor="t">
            <a:noAutofit/>
          </a:bodyPr>
          <a:lstStyle/>
          <a:p>
            <a:pPr algn="ctr"/>
            <a:r>
              <a:rPr lang="en-US" sz="1200" dirty="0"/>
              <a:t>Redshift</a:t>
            </a:r>
          </a:p>
          <a:p>
            <a:pPr algn="ctr"/>
            <a:r>
              <a:rPr lang="en-US" sz="1200" dirty="0"/>
              <a:t>Spectrum</a:t>
            </a:r>
          </a:p>
        </p:txBody>
      </p:sp>
      <p:pic>
        <p:nvPicPr>
          <p:cNvPr id="119" name="Picture 2" descr="Related image">
            <a:extLst>
              <a:ext uri="{FF2B5EF4-FFF2-40B4-BE49-F238E27FC236}">
                <a16:creationId xmlns:a16="http://schemas.microsoft.com/office/drawing/2014/main" id="{C6053684-0E28-467B-B182-43BBF7BDD08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081661" y="3602033"/>
            <a:ext cx="686553" cy="392891"/>
          </a:xfrm>
          <a:prstGeom prst="rect">
            <a:avLst/>
          </a:prstGeom>
          <a:noFill/>
          <a:extLst>
            <a:ext uri="{909E8E84-426E-40dd-AFC4-6F175D3DCCD1}">
              <a14:hiddenFill xmlns="" xmlns:a14="http://schemas.microsoft.com/office/drawing/2010/main">
                <a:solidFill>
                  <a:srgbClr val="FFFFFF"/>
                </a:solidFill>
              </a14:hiddenFill>
            </a:ext>
          </a:extLst>
        </p:spPr>
      </p:pic>
      <p:pic>
        <p:nvPicPr>
          <p:cNvPr id="120" name="Picture 4" descr="Image result for hive sql">
            <a:extLst>
              <a:ext uri="{FF2B5EF4-FFF2-40B4-BE49-F238E27FC236}">
                <a16:creationId xmlns:a16="http://schemas.microsoft.com/office/drawing/2014/main" id="{02FBE85F-FFDE-46D9-BD75-F8054B64C43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122480" y="4240384"/>
            <a:ext cx="573400" cy="516060"/>
          </a:xfrm>
          <a:prstGeom prst="rect">
            <a:avLst/>
          </a:prstGeom>
          <a:noFill/>
          <a:extLst>
            <a:ext uri="{909E8E84-426E-40dd-AFC4-6F175D3DCCD1}">
              <a14:hiddenFill xmlns="" xmlns:a14="http://schemas.microsoft.com/office/drawing/2010/main">
                <a:solidFill>
                  <a:srgbClr val="FFFFFF"/>
                </a:solidFill>
              </a14:hiddenFill>
            </a:ext>
          </a:extLst>
        </p:spPr>
      </p:pic>
      <p:pic>
        <p:nvPicPr>
          <p:cNvPr id="121" name="Picture 8" descr="Image result for R logo">
            <a:extLst>
              <a:ext uri="{FF2B5EF4-FFF2-40B4-BE49-F238E27FC236}">
                <a16:creationId xmlns:a16="http://schemas.microsoft.com/office/drawing/2014/main" id="{30CC7251-A660-4ED1-A231-9E6023C6922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67949" y="2841791"/>
            <a:ext cx="663880" cy="580895"/>
          </a:xfrm>
          <a:prstGeom prst="rect">
            <a:avLst/>
          </a:prstGeom>
          <a:noFill/>
          <a:extLst>
            <a:ext uri="{909E8E84-426E-40dd-AFC4-6F175D3DCCD1}">
              <a14:hiddenFill xmlns="" xmlns:a14="http://schemas.microsoft.com/office/drawing/2010/main">
                <a:solidFill>
                  <a:srgbClr val="FFFFFF"/>
                </a:solidFill>
              </a14:hiddenFill>
            </a:ext>
          </a:extLst>
        </p:spPr>
      </p:pic>
      <p:sp>
        <p:nvSpPr>
          <p:cNvPr id="122" name="Rectangle: Rounded Corners 2">
            <a:extLst>
              <a:ext uri="{FF2B5EF4-FFF2-40B4-BE49-F238E27FC236}">
                <a16:creationId xmlns:a16="http://schemas.microsoft.com/office/drawing/2014/main" id="{1DB2A8D5-D066-46A8-9BCB-15C09C03ACCD}"/>
              </a:ext>
            </a:extLst>
          </p:cNvPr>
          <p:cNvSpPr/>
          <p:nvPr/>
        </p:nvSpPr>
        <p:spPr>
          <a:xfrm flipH="1">
            <a:off x="11013520" y="2697110"/>
            <a:ext cx="776459" cy="2278081"/>
          </a:xfrm>
          <a:prstGeom prst="round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126" name="Elbow Connector 68">
            <a:extLst>
              <a:ext uri="{FF2B5EF4-FFF2-40B4-BE49-F238E27FC236}">
                <a16:creationId xmlns:a16="http://schemas.microsoft.com/office/drawing/2014/main" id="{33312363-4FED-45DB-972D-85C640A77923}"/>
              </a:ext>
            </a:extLst>
          </p:cNvPr>
          <p:cNvCxnSpPr>
            <a:cxnSpLocks/>
            <a:endCxn id="99" idx="1"/>
          </p:cNvCxnSpPr>
          <p:nvPr/>
        </p:nvCxnSpPr>
        <p:spPr>
          <a:xfrm rot="5400000" flipH="1" flipV="1">
            <a:off x="8836188" y="2759057"/>
            <a:ext cx="864234" cy="885923"/>
          </a:xfrm>
          <a:prstGeom prst="bentConnector2">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Elbow Connector 71">
            <a:extLst>
              <a:ext uri="{FF2B5EF4-FFF2-40B4-BE49-F238E27FC236}">
                <a16:creationId xmlns:a16="http://schemas.microsoft.com/office/drawing/2014/main" id="{12FAEB4F-5EFE-41D7-AEBE-DA24D97AB4EE}"/>
              </a:ext>
            </a:extLst>
          </p:cNvPr>
          <p:cNvCxnSpPr>
            <a:cxnSpLocks/>
            <a:endCxn id="117" idx="1"/>
          </p:cNvCxnSpPr>
          <p:nvPr/>
        </p:nvCxnSpPr>
        <p:spPr>
          <a:xfrm rot="16200000" flipH="1">
            <a:off x="9110432" y="4490641"/>
            <a:ext cx="407040" cy="952974"/>
          </a:xfrm>
          <a:prstGeom prst="bentConnector2">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80E4B284-A80B-4214-8E58-97CFEFCA1AC4}"/>
              </a:ext>
            </a:extLst>
          </p:cNvPr>
          <p:cNvCxnSpPr>
            <a:cxnSpLocks/>
            <a:endCxn id="115" idx="1"/>
          </p:cNvCxnSpPr>
          <p:nvPr/>
        </p:nvCxnSpPr>
        <p:spPr>
          <a:xfrm>
            <a:off x="9157877" y="3966669"/>
            <a:ext cx="563211" cy="17097"/>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DF1190BA-2203-4F1E-93E4-8E7D357CABA0}"/>
              </a:ext>
            </a:extLst>
          </p:cNvPr>
          <p:cNvCxnSpPr/>
          <p:nvPr/>
        </p:nvCxnSpPr>
        <p:spPr>
          <a:xfrm flipV="1">
            <a:off x="10387900" y="3937679"/>
            <a:ext cx="563211" cy="8036"/>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A2A40E02-9883-43A3-A8DE-CFD06D12B1E9}"/>
              </a:ext>
            </a:extLst>
          </p:cNvPr>
          <p:cNvSpPr txBox="1"/>
          <p:nvPr/>
        </p:nvSpPr>
        <p:spPr>
          <a:xfrm>
            <a:off x="5560442" y="4443356"/>
            <a:ext cx="1858008" cy="461665"/>
          </a:xfrm>
          <a:prstGeom prst="rect">
            <a:avLst/>
          </a:prstGeom>
          <a:noFill/>
        </p:spPr>
        <p:txBody>
          <a:bodyPr wrap="none" rtlCol="0">
            <a:spAutoFit/>
          </a:bodyPr>
          <a:lstStyle/>
          <a:p>
            <a:pPr algn="ctr"/>
            <a:r>
              <a:rPr lang="en-US" sz="1200" dirty="0"/>
              <a:t>Analytics Ready Data in S3</a:t>
            </a:r>
          </a:p>
          <a:p>
            <a:pPr algn="ctr"/>
            <a:r>
              <a:rPr lang="en-US" sz="1200" dirty="0"/>
              <a:t>(Optimized &amp; Compressed)</a:t>
            </a:r>
          </a:p>
        </p:txBody>
      </p:sp>
      <p:pic>
        <p:nvPicPr>
          <p:cNvPr id="180" name="Picture 179">
            <a:extLst>
              <a:ext uri="{FF2B5EF4-FFF2-40B4-BE49-F238E27FC236}">
                <a16:creationId xmlns:a16="http://schemas.microsoft.com/office/drawing/2014/main" id="{10169280-5B76-4607-9667-4CC76690D21B}"/>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131749" y="3728981"/>
            <a:ext cx="896982" cy="644706"/>
          </a:xfrm>
          <a:prstGeom prst="rect">
            <a:avLst/>
          </a:prstGeom>
        </p:spPr>
      </p:pic>
      <p:sp>
        <p:nvSpPr>
          <p:cNvPr id="181" name="TextBox 180">
            <a:extLst>
              <a:ext uri="{FF2B5EF4-FFF2-40B4-BE49-F238E27FC236}">
                <a16:creationId xmlns:a16="http://schemas.microsoft.com/office/drawing/2014/main" id="{5297D184-8FEC-4711-9162-63EF08B8D82A}"/>
              </a:ext>
            </a:extLst>
          </p:cNvPr>
          <p:cNvSpPr txBox="1"/>
          <p:nvPr/>
        </p:nvSpPr>
        <p:spPr>
          <a:xfrm>
            <a:off x="8103757" y="4359914"/>
            <a:ext cx="976486" cy="276999"/>
          </a:xfrm>
          <a:prstGeom prst="rect">
            <a:avLst/>
          </a:prstGeom>
          <a:noFill/>
        </p:spPr>
        <p:txBody>
          <a:bodyPr wrap="none" rtlCol="0">
            <a:spAutoFit/>
          </a:bodyPr>
          <a:lstStyle/>
          <a:p>
            <a:pPr algn="ctr"/>
            <a:r>
              <a:rPr lang="en-US" sz="1200" dirty="0"/>
              <a:t>Glue Catalog</a:t>
            </a:r>
          </a:p>
        </p:txBody>
      </p:sp>
      <p:pic>
        <p:nvPicPr>
          <p:cNvPr id="184" name="Picture 183">
            <a:extLst>
              <a:ext uri="{FF2B5EF4-FFF2-40B4-BE49-F238E27FC236}">
                <a16:creationId xmlns:a16="http://schemas.microsoft.com/office/drawing/2014/main" id="{A46305DF-1053-4192-A2A8-54153369379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78139" y="3697863"/>
            <a:ext cx="664226" cy="688826"/>
          </a:xfrm>
          <a:prstGeom prst="rect">
            <a:avLst/>
          </a:prstGeom>
        </p:spPr>
      </p:pic>
      <p:sp>
        <p:nvSpPr>
          <p:cNvPr id="9" name="Rectangle: Rounded Corners 8">
            <a:extLst>
              <a:ext uri="{FF2B5EF4-FFF2-40B4-BE49-F238E27FC236}">
                <a16:creationId xmlns:a16="http://schemas.microsoft.com/office/drawing/2014/main" id="{F58D0C18-4621-4419-A28B-78B7D2512F5A}"/>
              </a:ext>
            </a:extLst>
          </p:cNvPr>
          <p:cNvSpPr/>
          <p:nvPr/>
        </p:nvSpPr>
        <p:spPr>
          <a:xfrm>
            <a:off x="390053" y="3868245"/>
            <a:ext cx="1416971" cy="2532814"/>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122" name="Picture 2" descr="Image result for on premise icon">
            <a:extLst>
              <a:ext uri="{FF2B5EF4-FFF2-40B4-BE49-F238E27FC236}">
                <a16:creationId xmlns:a16="http://schemas.microsoft.com/office/drawing/2014/main" id="{B063EA36-B3BE-4C4A-8D33-16DC0FB30995}"/>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6017" y="3531776"/>
            <a:ext cx="915556" cy="915556"/>
          </a:xfrm>
          <a:prstGeom prst="rect">
            <a:avLst/>
          </a:prstGeom>
          <a:noFill/>
          <a:extLst>
            <a:ext uri="{909E8E84-426E-40DD-AFC4-6F175D3DCCD1}">
              <a14:hiddenFill xmlns:a14="http://schemas.microsoft.com/office/drawing/2010/main">
                <a:solidFill>
                  <a:srgbClr val="FFFFFF"/>
                </a:solidFill>
              </a14:hiddenFill>
            </a:ext>
          </a:extLst>
        </p:spPr>
      </p:pic>
      <p:sp>
        <p:nvSpPr>
          <p:cNvPr id="185" name="TextBox 184">
            <a:extLst>
              <a:ext uri="{FF2B5EF4-FFF2-40B4-BE49-F238E27FC236}">
                <a16:creationId xmlns:a16="http://schemas.microsoft.com/office/drawing/2014/main" id="{1A25D4A1-0F4D-4956-9F0B-126A7482CDF7}"/>
              </a:ext>
            </a:extLst>
          </p:cNvPr>
          <p:cNvSpPr txBox="1"/>
          <p:nvPr/>
        </p:nvSpPr>
        <p:spPr>
          <a:xfrm>
            <a:off x="521825" y="5791605"/>
            <a:ext cx="1067087" cy="523220"/>
          </a:xfrm>
          <a:prstGeom prst="rect">
            <a:avLst/>
          </a:prstGeom>
          <a:noFill/>
        </p:spPr>
        <p:txBody>
          <a:bodyPr wrap="none" rtlCol="0">
            <a:spAutoFit/>
          </a:bodyPr>
          <a:lstStyle/>
          <a:p>
            <a:pPr algn="ctr"/>
            <a:r>
              <a:rPr lang="en-US" sz="1400" b="1" dirty="0">
                <a:solidFill>
                  <a:schemeClr val="bg1"/>
                </a:solidFill>
              </a:rPr>
              <a:t>On-premise</a:t>
            </a:r>
          </a:p>
          <a:p>
            <a:pPr algn="ctr"/>
            <a:r>
              <a:rPr lang="en-US" sz="1400" b="1" dirty="0">
                <a:solidFill>
                  <a:schemeClr val="bg1"/>
                </a:solidFill>
              </a:rPr>
              <a:t>Data Center</a:t>
            </a:r>
          </a:p>
        </p:txBody>
      </p:sp>
      <p:pic>
        <p:nvPicPr>
          <p:cNvPr id="5126" name="Picture 6" descr="Image result for hdfs icon transparent background">
            <a:extLst>
              <a:ext uri="{FF2B5EF4-FFF2-40B4-BE49-F238E27FC236}">
                <a16:creationId xmlns:a16="http://schemas.microsoft.com/office/drawing/2014/main" id="{5BED6D1D-F781-4EF9-A0ED-51BD4FFFA02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5805"/>
          <a:stretch/>
        </p:blipFill>
        <p:spPr bwMode="auto">
          <a:xfrm>
            <a:off x="123993" y="4126671"/>
            <a:ext cx="2154677" cy="1791402"/>
          </a:xfrm>
          <a:prstGeom prst="rect">
            <a:avLst/>
          </a:prstGeom>
          <a:noFill/>
          <a:extLst>
            <a:ext uri="{909E8E84-426E-40DD-AFC4-6F175D3DCCD1}">
              <a14:hiddenFill xmlns:a14="http://schemas.microsoft.com/office/drawing/2010/main">
                <a:solidFill>
                  <a:srgbClr val="FFFFFF"/>
                </a:solidFill>
              </a14:hiddenFill>
            </a:ext>
          </a:extLst>
        </p:spPr>
      </p:pic>
      <p:sp>
        <p:nvSpPr>
          <p:cNvPr id="186" name="TextBox 185">
            <a:extLst>
              <a:ext uri="{FF2B5EF4-FFF2-40B4-BE49-F238E27FC236}">
                <a16:creationId xmlns:a16="http://schemas.microsoft.com/office/drawing/2014/main" id="{924DA609-168B-4646-8F11-EC3D137A25B8}"/>
              </a:ext>
            </a:extLst>
          </p:cNvPr>
          <p:cNvSpPr txBox="1"/>
          <p:nvPr/>
        </p:nvSpPr>
        <p:spPr>
          <a:xfrm>
            <a:off x="737884" y="5472400"/>
            <a:ext cx="634020" cy="338554"/>
          </a:xfrm>
          <a:prstGeom prst="rect">
            <a:avLst/>
          </a:prstGeom>
          <a:noFill/>
        </p:spPr>
        <p:txBody>
          <a:bodyPr wrap="none" rtlCol="0">
            <a:spAutoFit/>
          </a:bodyPr>
          <a:lstStyle/>
          <a:p>
            <a:pPr algn="ctr"/>
            <a:r>
              <a:rPr lang="en-US" sz="1600" b="1" dirty="0">
                <a:solidFill>
                  <a:schemeClr val="bg1"/>
                </a:solidFill>
              </a:rPr>
              <a:t>HDFS</a:t>
            </a:r>
          </a:p>
        </p:txBody>
      </p:sp>
      <p:cxnSp>
        <p:nvCxnSpPr>
          <p:cNvPr id="194" name="Straight Arrow Connector 193">
            <a:extLst>
              <a:ext uri="{FF2B5EF4-FFF2-40B4-BE49-F238E27FC236}">
                <a16:creationId xmlns:a16="http://schemas.microsoft.com/office/drawing/2014/main" id="{9FF136BB-3100-4E31-B101-7F25610FD719}"/>
              </a:ext>
            </a:extLst>
          </p:cNvPr>
          <p:cNvCxnSpPr>
            <a:cxnSpLocks/>
          </p:cNvCxnSpPr>
          <p:nvPr/>
        </p:nvCxnSpPr>
        <p:spPr>
          <a:xfrm>
            <a:off x="4805452" y="4162764"/>
            <a:ext cx="1075745" cy="0"/>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pic>
        <p:nvPicPr>
          <p:cNvPr id="4098" name="Picture 2" descr="Image result for aws snowball icon">
            <a:extLst>
              <a:ext uri="{FF2B5EF4-FFF2-40B4-BE49-F238E27FC236}">
                <a16:creationId xmlns:a16="http://schemas.microsoft.com/office/drawing/2014/main" id="{A131E5A6-5F82-446C-939A-8570AB6029B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362480" y="2418206"/>
            <a:ext cx="977421" cy="97742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a:extLst>
              <a:ext uri="{FF2B5EF4-FFF2-40B4-BE49-F238E27FC236}">
                <a16:creationId xmlns:a16="http://schemas.microsoft.com/office/drawing/2014/main" id="{719F6BB1-C2B3-450A-9DB4-B6C4CA728C4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23549" y="4126671"/>
            <a:ext cx="664226" cy="688826"/>
          </a:xfrm>
          <a:prstGeom prst="rect">
            <a:avLst/>
          </a:prstGeom>
        </p:spPr>
      </p:pic>
      <p:cxnSp>
        <p:nvCxnSpPr>
          <p:cNvPr id="57" name="Straight Arrow Connector 56">
            <a:extLst>
              <a:ext uri="{FF2B5EF4-FFF2-40B4-BE49-F238E27FC236}">
                <a16:creationId xmlns:a16="http://schemas.microsoft.com/office/drawing/2014/main" id="{61C98A22-402E-4495-84A4-0A85583CF313}"/>
              </a:ext>
            </a:extLst>
          </p:cNvPr>
          <p:cNvCxnSpPr>
            <a:cxnSpLocks/>
          </p:cNvCxnSpPr>
          <p:nvPr/>
        </p:nvCxnSpPr>
        <p:spPr>
          <a:xfrm flipV="1">
            <a:off x="1722480" y="3143251"/>
            <a:ext cx="792174" cy="748087"/>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3C7C6D31-70C9-4101-8F7C-9481AF0FB984}"/>
              </a:ext>
            </a:extLst>
          </p:cNvPr>
          <p:cNvCxnSpPr>
            <a:cxnSpLocks/>
          </p:cNvCxnSpPr>
          <p:nvPr/>
        </p:nvCxnSpPr>
        <p:spPr>
          <a:xfrm>
            <a:off x="3267745" y="3207406"/>
            <a:ext cx="655261" cy="796216"/>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1454ABD-ED9F-4278-8506-6EA000BE45C7}"/>
              </a:ext>
            </a:extLst>
          </p:cNvPr>
          <p:cNvSpPr txBox="1"/>
          <p:nvPr/>
        </p:nvSpPr>
        <p:spPr>
          <a:xfrm>
            <a:off x="1893943" y="2289022"/>
            <a:ext cx="2200539" cy="276999"/>
          </a:xfrm>
          <a:prstGeom prst="rect">
            <a:avLst/>
          </a:prstGeom>
          <a:noFill/>
        </p:spPr>
        <p:txBody>
          <a:bodyPr wrap="none" rtlCol="0">
            <a:spAutoFit/>
          </a:bodyPr>
          <a:lstStyle/>
          <a:p>
            <a:pPr algn="ctr"/>
            <a:r>
              <a:rPr lang="en-US" sz="1200" b="1" dirty="0"/>
              <a:t>AWS Snowball (Import/Export) </a:t>
            </a:r>
          </a:p>
        </p:txBody>
      </p:sp>
      <p:sp>
        <p:nvSpPr>
          <p:cNvPr id="65" name="TextBox 64">
            <a:extLst>
              <a:ext uri="{FF2B5EF4-FFF2-40B4-BE49-F238E27FC236}">
                <a16:creationId xmlns:a16="http://schemas.microsoft.com/office/drawing/2014/main" id="{CB1685E6-B432-4660-8EEF-869140E73BD2}"/>
              </a:ext>
            </a:extLst>
          </p:cNvPr>
          <p:cNvSpPr txBox="1"/>
          <p:nvPr/>
        </p:nvSpPr>
        <p:spPr>
          <a:xfrm>
            <a:off x="720125" y="3042080"/>
            <a:ext cx="1393921" cy="461665"/>
          </a:xfrm>
          <a:prstGeom prst="rect">
            <a:avLst/>
          </a:prstGeom>
          <a:noFill/>
        </p:spPr>
        <p:txBody>
          <a:bodyPr wrap="square" rtlCol="0">
            <a:spAutoFit/>
          </a:bodyPr>
          <a:lstStyle/>
          <a:p>
            <a:pPr algn="ctr"/>
            <a:r>
              <a:rPr lang="en-US" sz="1200" b="1" dirty="0"/>
              <a:t>Existing Data - One Time (Full Load)</a:t>
            </a:r>
          </a:p>
        </p:txBody>
      </p:sp>
      <p:sp>
        <p:nvSpPr>
          <p:cNvPr id="70" name="TextBox 69">
            <a:extLst>
              <a:ext uri="{FF2B5EF4-FFF2-40B4-BE49-F238E27FC236}">
                <a16:creationId xmlns:a16="http://schemas.microsoft.com/office/drawing/2014/main" id="{171BA02E-596B-4F6B-BAB8-5728B2504E44}"/>
              </a:ext>
            </a:extLst>
          </p:cNvPr>
          <p:cNvSpPr txBox="1"/>
          <p:nvPr/>
        </p:nvSpPr>
        <p:spPr>
          <a:xfrm>
            <a:off x="3539445" y="4808413"/>
            <a:ext cx="1032434" cy="276999"/>
          </a:xfrm>
          <a:prstGeom prst="rect">
            <a:avLst/>
          </a:prstGeom>
          <a:noFill/>
        </p:spPr>
        <p:txBody>
          <a:bodyPr wrap="square" rtlCol="0">
            <a:spAutoFit/>
          </a:bodyPr>
          <a:lstStyle/>
          <a:p>
            <a:pPr algn="ctr"/>
            <a:r>
              <a:rPr lang="en-US" sz="1200" dirty="0"/>
              <a:t>Landing S3</a:t>
            </a:r>
          </a:p>
        </p:txBody>
      </p:sp>
      <p:cxnSp>
        <p:nvCxnSpPr>
          <p:cNvPr id="73" name="Straight Arrow Connector 72">
            <a:extLst>
              <a:ext uri="{FF2B5EF4-FFF2-40B4-BE49-F238E27FC236}">
                <a16:creationId xmlns:a16="http://schemas.microsoft.com/office/drawing/2014/main" id="{BC6579DB-BAFD-40CF-9872-D39374A21EB8}"/>
              </a:ext>
            </a:extLst>
          </p:cNvPr>
          <p:cNvCxnSpPr>
            <a:cxnSpLocks/>
          </p:cNvCxnSpPr>
          <p:nvPr/>
        </p:nvCxnSpPr>
        <p:spPr>
          <a:xfrm>
            <a:off x="1870991" y="4640587"/>
            <a:ext cx="1740265" cy="0"/>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92668F16-3745-4A4E-9DD9-610966CACB43}"/>
              </a:ext>
            </a:extLst>
          </p:cNvPr>
          <p:cNvSpPr txBox="1"/>
          <p:nvPr/>
        </p:nvSpPr>
        <p:spPr>
          <a:xfrm>
            <a:off x="1897071" y="4787569"/>
            <a:ext cx="1678582" cy="461665"/>
          </a:xfrm>
          <a:prstGeom prst="rect">
            <a:avLst/>
          </a:prstGeom>
          <a:noFill/>
        </p:spPr>
        <p:txBody>
          <a:bodyPr wrap="square" rtlCol="0">
            <a:spAutoFit/>
          </a:bodyPr>
          <a:lstStyle/>
          <a:p>
            <a:pPr algn="ctr"/>
            <a:r>
              <a:rPr lang="en-US" sz="1200" b="1" dirty="0"/>
              <a:t>Continuous Ingestion</a:t>
            </a:r>
          </a:p>
          <a:p>
            <a:pPr algn="ctr"/>
            <a:r>
              <a:rPr lang="en-US" sz="1200" b="1" dirty="0"/>
              <a:t>(EMR + Spark)</a:t>
            </a:r>
          </a:p>
        </p:txBody>
      </p:sp>
      <p:sp>
        <p:nvSpPr>
          <p:cNvPr id="75" name="Rectangle: Rounded Corners 2">
            <a:extLst>
              <a:ext uri="{FF2B5EF4-FFF2-40B4-BE49-F238E27FC236}">
                <a16:creationId xmlns:a16="http://schemas.microsoft.com/office/drawing/2014/main" id="{30E0C66A-2D60-4E22-8653-8B3A2961A040}"/>
              </a:ext>
            </a:extLst>
          </p:cNvPr>
          <p:cNvSpPr/>
          <p:nvPr/>
        </p:nvSpPr>
        <p:spPr>
          <a:xfrm flipH="1">
            <a:off x="235248" y="2127195"/>
            <a:ext cx="4318270" cy="4547915"/>
          </a:xfrm>
          <a:prstGeom prst="round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76" name="Rectangle: Rounded Corners 2">
            <a:extLst>
              <a:ext uri="{FF2B5EF4-FFF2-40B4-BE49-F238E27FC236}">
                <a16:creationId xmlns:a16="http://schemas.microsoft.com/office/drawing/2014/main" id="{45089555-90BE-4616-88D2-9529E419CFF1}"/>
              </a:ext>
            </a:extLst>
          </p:cNvPr>
          <p:cNvSpPr/>
          <p:nvPr/>
        </p:nvSpPr>
        <p:spPr>
          <a:xfrm flipH="1">
            <a:off x="8103757" y="1972942"/>
            <a:ext cx="3914070" cy="4547915"/>
          </a:xfrm>
          <a:prstGeom prst="round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77" name="Straight Arrow Connector 76">
            <a:extLst>
              <a:ext uri="{FF2B5EF4-FFF2-40B4-BE49-F238E27FC236}">
                <a16:creationId xmlns:a16="http://schemas.microsoft.com/office/drawing/2014/main" id="{20B35AD6-401E-4B68-A331-EDCA9D627037}"/>
              </a:ext>
            </a:extLst>
          </p:cNvPr>
          <p:cNvCxnSpPr>
            <a:cxnSpLocks/>
          </p:cNvCxnSpPr>
          <p:nvPr/>
        </p:nvCxnSpPr>
        <p:spPr>
          <a:xfrm>
            <a:off x="7043026" y="4076006"/>
            <a:ext cx="1187473" cy="0"/>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E1B4033-1764-4F65-BA34-5B042212DE4D}"/>
              </a:ext>
            </a:extLst>
          </p:cNvPr>
          <p:cNvSpPr txBox="1"/>
          <p:nvPr/>
        </p:nvSpPr>
        <p:spPr>
          <a:xfrm>
            <a:off x="4664773" y="3814407"/>
            <a:ext cx="1340657" cy="276998"/>
          </a:xfrm>
          <a:prstGeom prst="rect">
            <a:avLst/>
          </a:prstGeom>
          <a:noFill/>
        </p:spPr>
        <p:txBody>
          <a:bodyPr wrap="square" rtlCol="0">
            <a:spAutoFit/>
          </a:bodyPr>
          <a:lstStyle/>
          <a:p>
            <a:pPr algn="ctr"/>
            <a:r>
              <a:rPr lang="en-US" sz="1200" b="1" dirty="0"/>
              <a:t>EMR + Spark</a:t>
            </a:r>
          </a:p>
        </p:txBody>
      </p:sp>
      <p:sp>
        <p:nvSpPr>
          <p:cNvPr id="47" name="Oval 46">
            <a:extLst>
              <a:ext uri="{FF2B5EF4-FFF2-40B4-BE49-F238E27FC236}">
                <a16:creationId xmlns:a16="http://schemas.microsoft.com/office/drawing/2014/main" id="{4D25B43F-A273-402A-9626-9E832946D46D}"/>
              </a:ext>
            </a:extLst>
          </p:cNvPr>
          <p:cNvSpPr/>
          <p:nvPr/>
        </p:nvSpPr>
        <p:spPr>
          <a:xfrm>
            <a:off x="3414618" y="2761941"/>
            <a:ext cx="276999" cy="276999"/>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A</a:t>
            </a:r>
          </a:p>
        </p:txBody>
      </p:sp>
      <p:sp>
        <p:nvSpPr>
          <p:cNvPr id="48" name="Oval 47">
            <a:extLst>
              <a:ext uri="{FF2B5EF4-FFF2-40B4-BE49-F238E27FC236}">
                <a16:creationId xmlns:a16="http://schemas.microsoft.com/office/drawing/2014/main" id="{6D3B3AE0-8DC4-4869-BD20-676689EA9185}"/>
              </a:ext>
            </a:extLst>
          </p:cNvPr>
          <p:cNvSpPr/>
          <p:nvPr/>
        </p:nvSpPr>
        <p:spPr>
          <a:xfrm>
            <a:off x="5146087" y="3484632"/>
            <a:ext cx="276999" cy="276999"/>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B</a:t>
            </a:r>
          </a:p>
        </p:txBody>
      </p:sp>
      <p:sp>
        <p:nvSpPr>
          <p:cNvPr id="49" name="Oval 48">
            <a:extLst>
              <a:ext uri="{FF2B5EF4-FFF2-40B4-BE49-F238E27FC236}">
                <a16:creationId xmlns:a16="http://schemas.microsoft.com/office/drawing/2014/main" id="{27E3A932-4540-4CCB-B554-3C9349D3C374}"/>
              </a:ext>
            </a:extLst>
          </p:cNvPr>
          <p:cNvSpPr/>
          <p:nvPr/>
        </p:nvSpPr>
        <p:spPr>
          <a:xfrm>
            <a:off x="2626787" y="5277553"/>
            <a:ext cx="276999" cy="276999"/>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a:t>
            </a:r>
          </a:p>
        </p:txBody>
      </p:sp>
      <p:sp>
        <p:nvSpPr>
          <p:cNvPr id="50" name="Oval 49">
            <a:extLst>
              <a:ext uri="{FF2B5EF4-FFF2-40B4-BE49-F238E27FC236}">
                <a16:creationId xmlns:a16="http://schemas.microsoft.com/office/drawing/2014/main" id="{AB27DB2E-0376-43F8-B7DB-8662F737B1BF}"/>
              </a:ext>
            </a:extLst>
          </p:cNvPr>
          <p:cNvSpPr/>
          <p:nvPr/>
        </p:nvSpPr>
        <p:spPr>
          <a:xfrm>
            <a:off x="8423375" y="3291023"/>
            <a:ext cx="276999" cy="276999"/>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D</a:t>
            </a:r>
          </a:p>
        </p:txBody>
      </p:sp>
      <p:sp>
        <p:nvSpPr>
          <p:cNvPr id="51" name="Oval 50">
            <a:extLst>
              <a:ext uri="{FF2B5EF4-FFF2-40B4-BE49-F238E27FC236}">
                <a16:creationId xmlns:a16="http://schemas.microsoft.com/office/drawing/2014/main" id="{85EB77D8-55C5-4797-A05D-C00DC48838A1}"/>
              </a:ext>
            </a:extLst>
          </p:cNvPr>
          <p:cNvSpPr/>
          <p:nvPr/>
        </p:nvSpPr>
        <p:spPr>
          <a:xfrm>
            <a:off x="9555669" y="3544521"/>
            <a:ext cx="276999" cy="276999"/>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E</a:t>
            </a:r>
          </a:p>
        </p:txBody>
      </p:sp>
      <p:sp>
        <p:nvSpPr>
          <p:cNvPr id="2" name="Rectangle 1">
            <a:extLst>
              <a:ext uri="{FF2B5EF4-FFF2-40B4-BE49-F238E27FC236}">
                <a16:creationId xmlns:a16="http://schemas.microsoft.com/office/drawing/2014/main" id="{EA15FE5F-A3A8-4C25-A352-D4680A9D0F62}"/>
              </a:ext>
            </a:extLst>
          </p:cNvPr>
          <p:cNvSpPr/>
          <p:nvPr/>
        </p:nvSpPr>
        <p:spPr>
          <a:xfrm>
            <a:off x="3686429" y="2746551"/>
            <a:ext cx="2529603" cy="276999"/>
          </a:xfrm>
          <a:prstGeom prst="rect">
            <a:avLst/>
          </a:prstGeom>
        </p:spPr>
        <p:txBody>
          <a:bodyPr wrap="none">
            <a:spAutoFit/>
          </a:bodyPr>
          <a:lstStyle/>
          <a:p>
            <a:r>
              <a:rPr lang="en-US" sz="1200" i="1" dirty="0"/>
              <a:t>Do one time ingestion into Landing S3</a:t>
            </a:r>
          </a:p>
        </p:txBody>
      </p:sp>
      <p:sp>
        <p:nvSpPr>
          <p:cNvPr id="3" name="Rectangle 2">
            <a:extLst>
              <a:ext uri="{FF2B5EF4-FFF2-40B4-BE49-F238E27FC236}">
                <a16:creationId xmlns:a16="http://schemas.microsoft.com/office/drawing/2014/main" id="{FCD7A2CA-CAA6-4EBA-89F5-FD9071417D8D}"/>
              </a:ext>
            </a:extLst>
          </p:cNvPr>
          <p:cNvSpPr/>
          <p:nvPr/>
        </p:nvSpPr>
        <p:spPr>
          <a:xfrm>
            <a:off x="5438493" y="3270385"/>
            <a:ext cx="2674092" cy="461665"/>
          </a:xfrm>
          <a:prstGeom prst="rect">
            <a:avLst/>
          </a:prstGeom>
        </p:spPr>
        <p:txBody>
          <a:bodyPr wrap="square">
            <a:spAutoFit/>
          </a:bodyPr>
          <a:lstStyle/>
          <a:p>
            <a:r>
              <a:rPr lang="en-US" sz="1200" i="1" dirty="0"/>
              <a:t>From Landing S3, convert the data into analytics ready data format</a:t>
            </a:r>
          </a:p>
        </p:txBody>
      </p:sp>
      <p:sp>
        <p:nvSpPr>
          <p:cNvPr id="4" name="Rectangle 3">
            <a:extLst>
              <a:ext uri="{FF2B5EF4-FFF2-40B4-BE49-F238E27FC236}">
                <a16:creationId xmlns:a16="http://schemas.microsoft.com/office/drawing/2014/main" id="{EF7B2F54-F085-432B-98BD-97AA30D12E6D}"/>
              </a:ext>
            </a:extLst>
          </p:cNvPr>
          <p:cNvSpPr/>
          <p:nvPr/>
        </p:nvSpPr>
        <p:spPr>
          <a:xfrm>
            <a:off x="2903786" y="5284544"/>
            <a:ext cx="1674176" cy="276999"/>
          </a:xfrm>
          <a:prstGeom prst="rect">
            <a:avLst/>
          </a:prstGeom>
        </p:spPr>
        <p:txBody>
          <a:bodyPr wrap="none">
            <a:spAutoFit/>
          </a:bodyPr>
          <a:lstStyle/>
          <a:p>
            <a:r>
              <a:rPr lang="en-US" sz="1200" i="1" dirty="0"/>
              <a:t>Do continuous ingestion</a:t>
            </a:r>
          </a:p>
        </p:txBody>
      </p:sp>
      <p:sp>
        <p:nvSpPr>
          <p:cNvPr id="5" name="Rectangle 4">
            <a:extLst>
              <a:ext uri="{FF2B5EF4-FFF2-40B4-BE49-F238E27FC236}">
                <a16:creationId xmlns:a16="http://schemas.microsoft.com/office/drawing/2014/main" id="{704F2008-D24E-4FC7-9A5C-0E1F54D1FF8E}"/>
              </a:ext>
            </a:extLst>
          </p:cNvPr>
          <p:cNvSpPr/>
          <p:nvPr/>
        </p:nvSpPr>
        <p:spPr>
          <a:xfrm>
            <a:off x="7576050" y="2849427"/>
            <a:ext cx="1305246" cy="461665"/>
          </a:xfrm>
          <a:prstGeom prst="rect">
            <a:avLst/>
          </a:prstGeom>
        </p:spPr>
        <p:txBody>
          <a:bodyPr wrap="square">
            <a:spAutoFit/>
          </a:bodyPr>
          <a:lstStyle/>
          <a:p>
            <a:pPr algn="ctr"/>
            <a:r>
              <a:rPr lang="en-US" sz="1200" i="1" dirty="0"/>
              <a:t>Expose Data for compute</a:t>
            </a:r>
          </a:p>
        </p:txBody>
      </p:sp>
      <p:sp>
        <p:nvSpPr>
          <p:cNvPr id="6" name="Rectangle 5">
            <a:extLst>
              <a:ext uri="{FF2B5EF4-FFF2-40B4-BE49-F238E27FC236}">
                <a16:creationId xmlns:a16="http://schemas.microsoft.com/office/drawing/2014/main" id="{94E16486-1833-4B78-A7FF-86DB0CED86D5}"/>
              </a:ext>
            </a:extLst>
          </p:cNvPr>
          <p:cNvSpPr/>
          <p:nvPr/>
        </p:nvSpPr>
        <p:spPr>
          <a:xfrm>
            <a:off x="9822678" y="3298418"/>
            <a:ext cx="1217882" cy="461665"/>
          </a:xfrm>
          <a:prstGeom prst="rect">
            <a:avLst/>
          </a:prstGeom>
        </p:spPr>
        <p:txBody>
          <a:bodyPr wrap="square">
            <a:spAutoFit/>
          </a:bodyPr>
          <a:lstStyle/>
          <a:p>
            <a:pPr algn="ctr"/>
            <a:r>
              <a:rPr lang="en-US" sz="1200" i="1" dirty="0"/>
              <a:t>Enable access via SQL interface</a:t>
            </a:r>
          </a:p>
        </p:txBody>
      </p:sp>
    </p:spTree>
    <p:extLst>
      <p:ext uri="{BB962C8B-B14F-4D97-AF65-F5344CB8AC3E}">
        <p14:creationId xmlns:p14="http://schemas.microsoft.com/office/powerpoint/2010/main" val="8968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LatentView">
      <a:dk1>
        <a:sysClr val="windowText" lastClr="000000"/>
      </a:dk1>
      <a:lt1>
        <a:sysClr val="window" lastClr="FFFFFF"/>
      </a:lt1>
      <a:dk2>
        <a:srgbClr val="44546A"/>
      </a:dk2>
      <a:lt2>
        <a:srgbClr val="E7E6E6"/>
      </a:lt2>
      <a:accent1>
        <a:srgbClr val="1957A3"/>
      </a:accent1>
      <a:accent2>
        <a:srgbClr val="7F7F7F"/>
      </a:accent2>
      <a:accent3>
        <a:srgbClr val="178CCB"/>
      </a:accent3>
      <a:accent4>
        <a:srgbClr val="18A3AC"/>
      </a:accent4>
      <a:accent5>
        <a:srgbClr val="D1A426"/>
      </a:accent5>
      <a:accent6>
        <a:srgbClr val="052049"/>
      </a:accent6>
      <a:hlink>
        <a:srgbClr val="1957A3"/>
      </a:hlink>
      <a:folHlink>
        <a:srgbClr val="7F7F7F"/>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039</TotalTime>
  <Words>563</Words>
  <Application>Microsoft Office PowerPoint</Application>
  <PresentationFormat>Widescreen</PresentationFormat>
  <Paragraphs>60</Paragraphs>
  <Slides>2</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2" baseType="lpstr">
      <vt:lpstr>Arial</vt:lpstr>
      <vt:lpstr>Avenir Book</vt:lpstr>
      <vt:lpstr>Calibri</vt:lpstr>
      <vt:lpstr>Gill Sans MT</vt:lpstr>
      <vt:lpstr>Open Sans</vt:lpstr>
      <vt:lpstr>Segoe UI</vt:lpstr>
      <vt:lpstr>Wingdings</vt:lpstr>
      <vt:lpstr>4_Office Theme</vt:lpstr>
      <vt:lpstr>2_Office Theme</vt:lpstr>
      <vt:lpstr>think-cell Slide</vt:lpstr>
      <vt:lpstr>Big data migration to cloud for ProSiebe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tentView Analytics Corporate Presentation</dc:title>
  <dc:creator>Bhargavi Sundaram</dc:creator>
  <cp:lastModifiedBy>Vivek Soundarapandian</cp:lastModifiedBy>
  <cp:revision>201</cp:revision>
  <dcterms:created xsi:type="dcterms:W3CDTF">2018-01-02T12:56:45Z</dcterms:created>
  <dcterms:modified xsi:type="dcterms:W3CDTF">2019-02-06T11:20:09Z</dcterms:modified>
</cp:coreProperties>
</file>